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4" r:id="rId5"/>
  </p:sldMasterIdLst>
  <p:notesMasterIdLst>
    <p:notesMasterId r:id="rId29"/>
  </p:notesMasterIdLst>
  <p:sldIdLst>
    <p:sldId id="2147472124" r:id="rId6"/>
    <p:sldId id="258" r:id="rId7"/>
    <p:sldId id="2147472106" r:id="rId8"/>
    <p:sldId id="2147472100" r:id="rId9"/>
    <p:sldId id="2147472102" r:id="rId10"/>
    <p:sldId id="2147472096" r:id="rId11"/>
    <p:sldId id="321" r:id="rId12"/>
    <p:sldId id="2147472125" r:id="rId13"/>
    <p:sldId id="2147472126" r:id="rId14"/>
    <p:sldId id="2147472097" r:id="rId15"/>
    <p:sldId id="2147472104" r:id="rId16"/>
    <p:sldId id="2147472108" r:id="rId17"/>
    <p:sldId id="2147472122" r:id="rId18"/>
    <p:sldId id="332" r:id="rId19"/>
    <p:sldId id="2147472107" r:id="rId20"/>
    <p:sldId id="2147472127" r:id="rId21"/>
    <p:sldId id="2147472128" r:id="rId22"/>
    <p:sldId id="2147472129" r:id="rId23"/>
    <p:sldId id="2147472095" r:id="rId24"/>
    <p:sldId id="284" r:id="rId25"/>
    <p:sldId id="335" r:id="rId26"/>
    <p:sldId id="314" r:id="rId27"/>
    <p:sldId id="291" r:id="rId2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C3FD7A7-0080-A7A4-7C98-A22607060F0C}" name="Ilona Pols" initials="IP" userId="S::ipols@vosko.nl::66542220-73f0-4253-bf8a-f396b91d0b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18BD7"/>
    <a:srgbClr val="028BEA"/>
    <a:srgbClr val="1A3154"/>
    <a:srgbClr val="17669E"/>
    <a:srgbClr val="248DD8"/>
    <a:srgbClr val="348BCB"/>
    <a:srgbClr val="616161"/>
    <a:srgbClr val="0269B4"/>
    <a:srgbClr val="3D4958"/>
    <a:srgbClr val="2FC0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3E6442-2291-4D9F-BB8A-0697790F74F2}" v="152" dt="2023-09-20T14:04:06.441"/>
    <p1510:client id="{5BF68B54-E079-4E1C-B325-A94B3E38AE8B}" v="1733" dt="2023-09-19T14:31:44.492"/>
    <p1510:client id="{86816C5B-EDC7-4FC9-A9A2-F1107FE903B0}" v="211" dt="2023-09-20T14:06:29.418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94"/>
  </p:normalViewPr>
  <p:slideViewPr>
    <p:cSldViewPr snapToGrid="0">
      <p:cViewPr varScale="1">
        <p:scale>
          <a:sx n="104" d="100"/>
          <a:sy n="104" d="100"/>
        </p:scale>
        <p:origin x="232" y="5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effrey den Oudsten" userId="43acc0ae-d90b-4d72-8522-1097c52dad69" providerId="ADAL" clId="{86816C5B-EDC7-4FC9-A9A2-F1107FE903B0}"/>
    <pc:docChg chg="custSel addSld delSld modSld">
      <pc:chgData name="Jeffrey den Oudsten" userId="43acc0ae-d90b-4d72-8522-1097c52dad69" providerId="ADAL" clId="{86816C5B-EDC7-4FC9-A9A2-F1107FE903B0}" dt="2023-09-20T14:06:29.418" v="186" actId="1076"/>
      <pc:docMkLst>
        <pc:docMk/>
      </pc:docMkLst>
      <pc:sldChg chg="modSp mod">
        <pc:chgData name="Jeffrey den Oudsten" userId="43acc0ae-d90b-4d72-8522-1097c52dad69" providerId="ADAL" clId="{86816C5B-EDC7-4FC9-A9A2-F1107FE903B0}" dt="2023-09-20T14:06:29.418" v="186" actId="1076"/>
        <pc:sldMkLst>
          <pc:docMk/>
          <pc:sldMk cId="2573198258" sldId="314"/>
        </pc:sldMkLst>
        <pc:spChg chg="mod">
          <ac:chgData name="Jeffrey den Oudsten" userId="43acc0ae-d90b-4d72-8522-1097c52dad69" providerId="ADAL" clId="{86816C5B-EDC7-4FC9-A9A2-F1107FE903B0}" dt="2023-09-20T14:06:29.418" v="186" actId="1076"/>
          <ac:spMkLst>
            <pc:docMk/>
            <pc:sldMk cId="2573198258" sldId="314"/>
            <ac:spMk id="3" creationId="{55F072C6-1E6C-5CF4-745D-DC1AE904DE9E}"/>
          </ac:spMkLst>
        </pc:spChg>
      </pc:sldChg>
      <pc:sldChg chg="modSp mod">
        <pc:chgData name="Jeffrey den Oudsten" userId="43acc0ae-d90b-4d72-8522-1097c52dad69" providerId="ADAL" clId="{86816C5B-EDC7-4FC9-A9A2-F1107FE903B0}" dt="2023-09-20T13:50:51.435" v="35" actId="20577"/>
        <pc:sldMkLst>
          <pc:docMk/>
          <pc:sldMk cId="4246675774" sldId="332"/>
        </pc:sldMkLst>
        <pc:spChg chg="mod">
          <ac:chgData name="Jeffrey den Oudsten" userId="43acc0ae-d90b-4d72-8522-1097c52dad69" providerId="ADAL" clId="{86816C5B-EDC7-4FC9-A9A2-F1107FE903B0}" dt="2023-09-20T13:50:51.435" v="35" actId="20577"/>
          <ac:spMkLst>
            <pc:docMk/>
            <pc:sldMk cId="4246675774" sldId="332"/>
            <ac:spMk id="4" creationId="{737C6098-DD24-C2C2-CF2D-055A941CA758}"/>
          </ac:spMkLst>
        </pc:spChg>
      </pc:sldChg>
      <pc:sldChg chg="addSp delSp modSp mod">
        <pc:chgData name="Jeffrey den Oudsten" userId="43acc0ae-d90b-4d72-8522-1097c52dad69" providerId="ADAL" clId="{86816C5B-EDC7-4FC9-A9A2-F1107FE903B0}" dt="2023-09-20T14:04:59.994" v="162" actId="1037"/>
        <pc:sldMkLst>
          <pc:docMk/>
          <pc:sldMk cId="2712773838" sldId="335"/>
        </pc:sldMkLst>
        <pc:spChg chg="mod">
          <ac:chgData name="Jeffrey den Oudsten" userId="43acc0ae-d90b-4d72-8522-1097c52dad69" providerId="ADAL" clId="{86816C5B-EDC7-4FC9-A9A2-F1107FE903B0}" dt="2023-09-20T14:04:27.256" v="148" actId="1038"/>
          <ac:spMkLst>
            <pc:docMk/>
            <pc:sldMk cId="2712773838" sldId="335"/>
            <ac:spMk id="4" creationId="{CC031450-F728-2688-2825-0768A750C060}"/>
          </ac:spMkLst>
        </pc:spChg>
        <pc:spChg chg="mod">
          <ac:chgData name="Jeffrey den Oudsten" userId="43acc0ae-d90b-4d72-8522-1097c52dad69" providerId="ADAL" clId="{86816C5B-EDC7-4FC9-A9A2-F1107FE903B0}" dt="2023-09-20T14:04:59.994" v="162" actId="1037"/>
          <ac:spMkLst>
            <pc:docMk/>
            <pc:sldMk cId="2712773838" sldId="335"/>
            <ac:spMk id="6" creationId="{C252905A-566C-5655-428E-E4CB871E0E8B}"/>
          </ac:spMkLst>
        </pc:spChg>
        <pc:spChg chg="add del mod">
          <ac:chgData name="Jeffrey den Oudsten" userId="43acc0ae-d90b-4d72-8522-1097c52dad69" providerId="ADAL" clId="{86816C5B-EDC7-4FC9-A9A2-F1107FE903B0}" dt="2023-09-20T14:03:11.578" v="133" actId="478"/>
          <ac:spMkLst>
            <pc:docMk/>
            <pc:sldMk cId="2712773838" sldId="335"/>
            <ac:spMk id="7" creationId="{5F80D160-0DFC-C0E5-DC30-1BD747E5535F}"/>
          </ac:spMkLst>
        </pc:spChg>
        <pc:spChg chg="mod">
          <ac:chgData name="Jeffrey den Oudsten" userId="43acc0ae-d90b-4d72-8522-1097c52dad69" providerId="ADAL" clId="{86816C5B-EDC7-4FC9-A9A2-F1107FE903B0}" dt="2023-09-20T14:04:59.994" v="162" actId="1037"/>
          <ac:spMkLst>
            <pc:docMk/>
            <pc:sldMk cId="2712773838" sldId="335"/>
            <ac:spMk id="18" creationId="{527746E6-AC30-686E-B3C3-65D7D685BB52}"/>
          </ac:spMkLst>
        </pc:spChg>
        <pc:grpChg chg="mod">
          <ac:chgData name="Jeffrey den Oudsten" userId="43acc0ae-d90b-4d72-8522-1097c52dad69" providerId="ADAL" clId="{86816C5B-EDC7-4FC9-A9A2-F1107FE903B0}" dt="2023-09-20T14:04:59.994" v="162" actId="1037"/>
          <ac:grpSpMkLst>
            <pc:docMk/>
            <pc:sldMk cId="2712773838" sldId="335"/>
            <ac:grpSpMk id="10" creationId="{CAEB4543-019B-7EFD-D9FD-8E6EABF4CC97}"/>
          </ac:grpSpMkLst>
        </pc:grpChg>
        <pc:picChg chg="mod">
          <ac:chgData name="Jeffrey den Oudsten" userId="43acc0ae-d90b-4d72-8522-1097c52dad69" providerId="ADAL" clId="{86816C5B-EDC7-4FC9-A9A2-F1107FE903B0}" dt="2023-09-20T14:04:59.994" v="162" actId="1037"/>
          <ac:picMkLst>
            <pc:docMk/>
            <pc:sldMk cId="2712773838" sldId="335"/>
            <ac:picMk id="2" creationId="{386A5869-F2A6-9A73-7892-FC1CACA2AB74}"/>
          </ac:picMkLst>
        </pc:picChg>
        <pc:picChg chg="add mod">
          <ac:chgData name="Jeffrey den Oudsten" userId="43acc0ae-d90b-4d72-8522-1097c52dad69" providerId="ADAL" clId="{86816C5B-EDC7-4FC9-A9A2-F1107FE903B0}" dt="2023-09-20T14:03:16.674" v="134" actId="14100"/>
          <ac:picMkLst>
            <pc:docMk/>
            <pc:sldMk cId="2712773838" sldId="335"/>
            <ac:picMk id="3" creationId="{6AEB1880-8CD3-F9BA-9969-F2D7D23D3E2F}"/>
          </ac:picMkLst>
        </pc:picChg>
        <pc:picChg chg="mod">
          <ac:chgData name="Jeffrey den Oudsten" userId="43acc0ae-d90b-4d72-8522-1097c52dad69" providerId="ADAL" clId="{86816C5B-EDC7-4FC9-A9A2-F1107FE903B0}" dt="2023-09-20T14:04:59.994" v="162" actId="1037"/>
          <ac:picMkLst>
            <pc:docMk/>
            <pc:sldMk cId="2712773838" sldId="335"/>
            <ac:picMk id="14" creationId="{FB7C0D3A-FF87-1CB5-6F18-A3A7D2640DC6}"/>
          </ac:picMkLst>
        </pc:picChg>
        <pc:picChg chg="mod">
          <ac:chgData name="Jeffrey den Oudsten" userId="43acc0ae-d90b-4d72-8522-1097c52dad69" providerId="ADAL" clId="{86816C5B-EDC7-4FC9-A9A2-F1107FE903B0}" dt="2023-09-20T14:04:59.994" v="162" actId="1037"/>
          <ac:picMkLst>
            <pc:docMk/>
            <pc:sldMk cId="2712773838" sldId="335"/>
            <ac:picMk id="17" creationId="{EBB9254D-51EC-9B39-CB38-C5E8969721EA}"/>
          </ac:picMkLst>
        </pc:picChg>
        <pc:picChg chg="mod">
          <ac:chgData name="Jeffrey den Oudsten" userId="43acc0ae-d90b-4d72-8522-1097c52dad69" providerId="ADAL" clId="{86816C5B-EDC7-4FC9-A9A2-F1107FE903B0}" dt="2023-09-20T14:04:59.994" v="162" actId="1037"/>
          <ac:picMkLst>
            <pc:docMk/>
            <pc:sldMk cId="2712773838" sldId="335"/>
            <ac:picMk id="7170" creationId="{8B0E86AC-6011-FBBB-1394-CC89C26A0E45}"/>
          </ac:picMkLst>
        </pc:picChg>
        <pc:picChg chg="mod">
          <ac:chgData name="Jeffrey den Oudsten" userId="43acc0ae-d90b-4d72-8522-1097c52dad69" providerId="ADAL" clId="{86816C5B-EDC7-4FC9-A9A2-F1107FE903B0}" dt="2023-09-20T14:04:59.994" v="162" actId="1037"/>
          <ac:picMkLst>
            <pc:docMk/>
            <pc:sldMk cId="2712773838" sldId="335"/>
            <ac:picMk id="7176" creationId="{BED96A90-2A36-4A22-640C-43967B21363C}"/>
          </ac:picMkLst>
        </pc:picChg>
      </pc:sldChg>
      <pc:sldChg chg="addSp delSp modSp mod">
        <pc:chgData name="Jeffrey den Oudsten" userId="43acc0ae-d90b-4d72-8522-1097c52dad69" providerId="ADAL" clId="{86816C5B-EDC7-4FC9-A9A2-F1107FE903B0}" dt="2023-09-20T14:01:56.258" v="122" actId="20577"/>
        <pc:sldMkLst>
          <pc:docMk/>
          <pc:sldMk cId="2758198115" sldId="2147472095"/>
        </pc:sldMkLst>
        <pc:spChg chg="add mod">
          <ac:chgData name="Jeffrey den Oudsten" userId="43acc0ae-d90b-4d72-8522-1097c52dad69" providerId="ADAL" clId="{86816C5B-EDC7-4FC9-A9A2-F1107FE903B0}" dt="2023-09-20T14:01:31.023" v="100" actId="113"/>
          <ac:spMkLst>
            <pc:docMk/>
            <pc:sldMk cId="2758198115" sldId="2147472095"/>
            <ac:spMk id="2" creationId="{05845064-852B-53F5-D398-3780D4B8C9A4}"/>
          </ac:spMkLst>
        </pc:spChg>
        <pc:spChg chg="add mod">
          <ac:chgData name="Jeffrey den Oudsten" userId="43acc0ae-d90b-4d72-8522-1097c52dad69" providerId="ADAL" clId="{86816C5B-EDC7-4FC9-A9A2-F1107FE903B0}" dt="2023-09-20T14:01:56.258" v="122" actId="20577"/>
          <ac:spMkLst>
            <pc:docMk/>
            <pc:sldMk cId="2758198115" sldId="2147472095"/>
            <ac:spMk id="10" creationId="{A690D3B0-E8E2-4ACD-F92E-E500174E9003}"/>
          </ac:spMkLst>
        </pc:spChg>
        <pc:spChg chg="del mod">
          <ac:chgData name="Jeffrey den Oudsten" userId="43acc0ae-d90b-4d72-8522-1097c52dad69" providerId="ADAL" clId="{86816C5B-EDC7-4FC9-A9A2-F1107FE903B0}" dt="2023-09-20T14:00:09.955" v="67" actId="478"/>
          <ac:spMkLst>
            <pc:docMk/>
            <pc:sldMk cId="2758198115" sldId="2147472095"/>
            <ac:spMk id="1031" creationId="{54B2EA2E-5F50-A4DA-615E-FBCFC9F297CD}"/>
          </ac:spMkLst>
        </pc:spChg>
        <pc:cxnChg chg="mod">
          <ac:chgData name="Jeffrey den Oudsten" userId="43acc0ae-d90b-4d72-8522-1097c52dad69" providerId="ADAL" clId="{86816C5B-EDC7-4FC9-A9A2-F1107FE903B0}" dt="2023-09-20T14:01:00.297" v="80" actId="1076"/>
          <ac:cxnSpMkLst>
            <pc:docMk/>
            <pc:sldMk cId="2758198115" sldId="2147472095"/>
            <ac:cxnSpMk id="1028" creationId="{22977351-2F23-5CCD-E9CE-BAD10AE393BA}"/>
          </ac:cxnSpMkLst>
        </pc:cxnChg>
      </pc:sldChg>
      <pc:sldChg chg="modSp modAnim">
        <pc:chgData name="Jeffrey den Oudsten" userId="43acc0ae-d90b-4d72-8522-1097c52dad69" providerId="ADAL" clId="{86816C5B-EDC7-4FC9-A9A2-F1107FE903B0}" dt="2023-09-20T13:51:29.291" v="39" actId="6549"/>
        <pc:sldMkLst>
          <pc:docMk/>
          <pc:sldMk cId="221098527" sldId="2147472107"/>
        </pc:sldMkLst>
        <pc:spChg chg="mod">
          <ac:chgData name="Jeffrey den Oudsten" userId="43acc0ae-d90b-4d72-8522-1097c52dad69" providerId="ADAL" clId="{86816C5B-EDC7-4FC9-A9A2-F1107FE903B0}" dt="2023-09-20T13:51:29.291" v="39" actId="6549"/>
          <ac:spMkLst>
            <pc:docMk/>
            <pc:sldMk cId="221098527" sldId="2147472107"/>
            <ac:spMk id="37" creationId="{2E3BF3FF-5EEB-BD6E-4F9D-88FF946E0F2A}"/>
          </ac:spMkLst>
        </pc:spChg>
      </pc:sldChg>
      <pc:sldChg chg="modSp mod">
        <pc:chgData name="Jeffrey den Oudsten" userId="43acc0ae-d90b-4d72-8522-1097c52dad69" providerId="ADAL" clId="{86816C5B-EDC7-4FC9-A9A2-F1107FE903B0}" dt="2023-09-20T13:57:59.176" v="48" actId="2711"/>
        <pc:sldMkLst>
          <pc:docMk/>
          <pc:sldMk cId="4107301527" sldId="2147472127"/>
        </pc:sldMkLst>
        <pc:spChg chg="mod">
          <ac:chgData name="Jeffrey den Oudsten" userId="43acc0ae-d90b-4d72-8522-1097c52dad69" providerId="ADAL" clId="{86816C5B-EDC7-4FC9-A9A2-F1107FE903B0}" dt="2023-09-20T13:57:59.176" v="48" actId="2711"/>
          <ac:spMkLst>
            <pc:docMk/>
            <pc:sldMk cId="4107301527" sldId="2147472127"/>
            <ac:spMk id="4" creationId="{98995FF7-A771-E1C4-E0A8-0D2208AFB70E}"/>
          </ac:spMkLst>
        </pc:spChg>
      </pc:sldChg>
      <pc:sldChg chg="modSp mod">
        <pc:chgData name="Jeffrey den Oudsten" userId="43acc0ae-d90b-4d72-8522-1097c52dad69" providerId="ADAL" clId="{86816C5B-EDC7-4FC9-A9A2-F1107FE903B0}" dt="2023-09-20T13:58:10.165" v="50" actId="404"/>
        <pc:sldMkLst>
          <pc:docMk/>
          <pc:sldMk cId="1681739301" sldId="2147472128"/>
        </pc:sldMkLst>
        <pc:spChg chg="mod">
          <ac:chgData name="Jeffrey den Oudsten" userId="43acc0ae-d90b-4d72-8522-1097c52dad69" providerId="ADAL" clId="{86816C5B-EDC7-4FC9-A9A2-F1107FE903B0}" dt="2023-09-20T13:58:10.165" v="50" actId="404"/>
          <ac:spMkLst>
            <pc:docMk/>
            <pc:sldMk cId="1681739301" sldId="2147472128"/>
            <ac:spMk id="4" creationId="{98995FF7-A771-E1C4-E0A8-0D2208AFB70E}"/>
          </ac:spMkLst>
        </pc:spChg>
      </pc:sldChg>
      <pc:sldChg chg="modSp mod">
        <pc:chgData name="Jeffrey den Oudsten" userId="43acc0ae-d90b-4d72-8522-1097c52dad69" providerId="ADAL" clId="{86816C5B-EDC7-4FC9-A9A2-F1107FE903B0}" dt="2023-09-20T13:58:21.549" v="52" actId="255"/>
        <pc:sldMkLst>
          <pc:docMk/>
          <pc:sldMk cId="1529828784" sldId="2147472129"/>
        </pc:sldMkLst>
        <pc:spChg chg="mod">
          <ac:chgData name="Jeffrey den Oudsten" userId="43acc0ae-d90b-4d72-8522-1097c52dad69" providerId="ADAL" clId="{86816C5B-EDC7-4FC9-A9A2-F1107FE903B0}" dt="2023-09-20T13:58:21.549" v="52" actId="255"/>
          <ac:spMkLst>
            <pc:docMk/>
            <pc:sldMk cId="1529828784" sldId="2147472129"/>
            <ac:spMk id="2" creationId="{09C8CA23-8726-AE70-BBAB-D4256DB8AAC0}"/>
          </ac:spMkLst>
        </pc:spChg>
      </pc:sldChg>
      <pc:sldChg chg="add del">
        <pc:chgData name="Jeffrey den Oudsten" userId="43acc0ae-d90b-4d72-8522-1097c52dad69" providerId="ADAL" clId="{86816C5B-EDC7-4FC9-A9A2-F1107FE903B0}" dt="2023-09-20T14:02:09.569" v="123" actId="47"/>
        <pc:sldMkLst>
          <pc:docMk/>
          <pc:sldMk cId="2023995662" sldId="2147472130"/>
        </pc:sldMkLst>
      </pc:sldChg>
    </pc:docChg>
  </pc:docChgLst>
  <pc:docChgLst>
    <pc:chgData name="Ilona Pols" userId="66542220-73f0-4253-bf8a-f396b91d0ba8" providerId="ADAL" clId="{4B3E6442-2291-4D9F-BB8A-0697790F74F2}"/>
    <pc:docChg chg="custSel addSld delSld modSld">
      <pc:chgData name="Ilona Pols" userId="66542220-73f0-4253-bf8a-f396b91d0ba8" providerId="ADAL" clId="{4B3E6442-2291-4D9F-BB8A-0697790F74F2}" dt="2023-09-20T14:04:06.441" v="147" actId="1076"/>
      <pc:docMkLst>
        <pc:docMk/>
      </pc:docMkLst>
      <pc:sldChg chg="del">
        <pc:chgData name="Ilona Pols" userId="66542220-73f0-4253-bf8a-f396b91d0ba8" providerId="ADAL" clId="{4B3E6442-2291-4D9F-BB8A-0697790F74F2}" dt="2023-09-20T13:46:19.915" v="34" actId="47"/>
        <pc:sldMkLst>
          <pc:docMk/>
          <pc:sldMk cId="282331377" sldId="333"/>
        </pc:sldMkLst>
      </pc:sldChg>
      <pc:sldChg chg="del">
        <pc:chgData name="Ilona Pols" userId="66542220-73f0-4253-bf8a-f396b91d0ba8" providerId="ADAL" clId="{4B3E6442-2291-4D9F-BB8A-0697790F74F2}" dt="2023-09-20T13:43:49.386" v="16" actId="47"/>
        <pc:sldMkLst>
          <pc:docMk/>
          <pc:sldMk cId="2740206501" sldId="334"/>
        </pc:sldMkLst>
      </pc:sldChg>
      <pc:sldChg chg="addSp modSp mod">
        <pc:chgData name="Ilona Pols" userId="66542220-73f0-4253-bf8a-f396b91d0ba8" providerId="ADAL" clId="{4B3E6442-2291-4D9F-BB8A-0697790F74F2}" dt="2023-09-20T14:04:06.441" v="147" actId="1076"/>
        <pc:sldMkLst>
          <pc:docMk/>
          <pc:sldMk cId="2712773838" sldId="335"/>
        </pc:sldMkLst>
        <pc:spChg chg="add mod">
          <ac:chgData name="Ilona Pols" userId="66542220-73f0-4253-bf8a-f396b91d0ba8" providerId="ADAL" clId="{4B3E6442-2291-4D9F-BB8A-0697790F74F2}" dt="2023-09-20T14:04:06.441" v="147" actId="1076"/>
          <ac:spMkLst>
            <pc:docMk/>
            <pc:sldMk cId="2712773838" sldId="335"/>
            <ac:spMk id="4" creationId="{CC031450-F728-2688-2825-0768A750C060}"/>
          </ac:spMkLst>
        </pc:spChg>
      </pc:sldChg>
      <pc:sldChg chg="delSp mod">
        <pc:chgData name="Ilona Pols" userId="66542220-73f0-4253-bf8a-f396b91d0ba8" providerId="ADAL" clId="{4B3E6442-2291-4D9F-BB8A-0697790F74F2}" dt="2023-09-20T13:46:27.556" v="35" actId="478"/>
        <pc:sldMkLst>
          <pc:docMk/>
          <pc:sldMk cId="2478930759" sldId="2147472097"/>
        </pc:sldMkLst>
        <pc:spChg chg="del">
          <ac:chgData name="Ilona Pols" userId="66542220-73f0-4253-bf8a-f396b91d0ba8" providerId="ADAL" clId="{4B3E6442-2291-4D9F-BB8A-0697790F74F2}" dt="2023-09-20T13:46:27.556" v="35" actId="478"/>
          <ac:spMkLst>
            <pc:docMk/>
            <pc:sldMk cId="2478930759" sldId="2147472097"/>
            <ac:spMk id="3" creationId="{D0C6844E-0973-BD8F-1870-8F767CC6CA6D}"/>
          </ac:spMkLst>
        </pc:spChg>
      </pc:sldChg>
      <pc:sldChg chg="modSp mod">
        <pc:chgData name="Ilona Pols" userId="66542220-73f0-4253-bf8a-f396b91d0ba8" providerId="ADAL" clId="{4B3E6442-2291-4D9F-BB8A-0697790F74F2}" dt="2023-09-20T13:47:10.450" v="38" actId="207"/>
        <pc:sldMkLst>
          <pc:docMk/>
          <pc:sldMk cId="3614204319" sldId="2147472100"/>
        </pc:sldMkLst>
        <pc:spChg chg="mod">
          <ac:chgData name="Ilona Pols" userId="66542220-73f0-4253-bf8a-f396b91d0ba8" providerId="ADAL" clId="{4B3E6442-2291-4D9F-BB8A-0697790F74F2}" dt="2023-09-20T13:47:10.450" v="38" actId="207"/>
          <ac:spMkLst>
            <pc:docMk/>
            <pc:sldMk cId="3614204319" sldId="2147472100"/>
            <ac:spMk id="11" creationId="{53F3C209-3859-468C-9460-2755BD525C8A}"/>
          </ac:spMkLst>
        </pc:spChg>
      </pc:sldChg>
      <pc:sldChg chg="modSp mod">
        <pc:chgData name="Ilona Pols" userId="66542220-73f0-4253-bf8a-f396b91d0ba8" providerId="ADAL" clId="{4B3E6442-2291-4D9F-BB8A-0697790F74F2}" dt="2023-09-20T13:41:40.553" v="7" actId="207"/>
        <pc:sldMkLst>
          <pc:docMk/>
          <pc:sldMk cId="2118189616" sldId="2147472102"/>
        </pc:sldMkLst>
        <pc:spChg chg="mod">
          <ac:chgData name="Ilona Pols" userId="66542220-73f0-4253-bf8a-f396b91d0ba8" providerId="ADAL" clId="{4B3E6442-2291-4D9F-BB8A-0697790F74F2}" dt="2023-09-20T13:41:40.553" v="7" actId="207"/>
          <ac:spMkLst>
            <pc:docMk/>
            <pc:sldMk cId="2118189616" sldId="2147472102"/>
            <ac:spMk id="11" creationId="{1DEA1FE9-F2E5-1C84-B142-C484930A4AC0}"/>
          </ac:spMkLst>
        </pc:spChg>
      </pc:sldChg>
      <pc:sldChg chg="delSp mod">
        <pc:chgData name="Ilona Pols" userId="66542220-73f0-4253-bf8a-f396b91d0ba8" providerId="ADAL" clId="{4B3E6442-2291-4D9F-BB8A-0697790F74F2}" dt="2023-09-20T13:47:56.524" v="44" actId="478"/>
        <pc:sldMkLst>
          <pc:docMk/>
          <pc:sldMk cId="114328050" sldId="2147472104"/>
        </pc:sldMkLst>
        <pc:spChg chg="del">
          <ac:chgData name="Ilona Pols" userId="66542220-73f0-4253-bf8a-f396b91d0ba8" providerId="ADAL" clId="{4B3E6442-2291-4D9F-BB8A-0697790F74F2}" dt="2023-09-20T13:47:56.524" v="44" actId="478"/>
          <ac:spMkLst>
            <pc:docMk/>
            <pc:sldMk cId="114328050" sldId="2147472104"/>
            <ac:spMk id="10" creationId="{2746EBC0-B4EF-4731-1278-BC8D00E0E849}"/>
          </ac:spMkLst>
        </pc:spChg>
      </pc:sldChg>
      <pc:sldChg chg="modSp mod">
        <pc:chgData name="Ilona Pols" userId="66542220-73f0-4253-bf8a-f396b91d0ba8" providerId="ADAL" clId="{4B3E6442-2291-4D9F-BB8A-0697790F74F2}" dt="2023-09-20T13:47:38.723" v="43" actId="207"/>
        <pc:sldMkLst>
          <pc:docMk/>
          <pc:sldMk cId="1370206707" sldId="2147472106"/>
        </pc:sldMkLst>
        <pc:spChg chg="mod">
          <ac:chgData name="Ilona Pols" userId="66542220-73f0-4253-bf8a-f396b91d0ba8" providerId="ADAL" clId="{4B3E6442-2291-4D9F-BB8A-0697790F74F2}" dt="2023-09-20T13:47:38.723" v="43" actId="207"/>
          <ac:spMkLst>
            <pc:docMk/>
            <pc:sldMk cId="1370206707" sldId="2147472106"/>
            <ac:spMk id="7" creationId="{0D697B12-F340-DB7C-4C63-94EB32DF7C97}"/>
          </ac:spMkLst>
        </pc:spChg>
      </pc:sldChg>
      <pc:sldChg chg="delSp mod">
        <pc:chgData name="Ilona Pols" userId="66542220-73f0-4253-bf8a-f396b91d0ba8" providerId="ADAL" clId="{4B3E6442-2291-4D9F-BB8A-0697790F74F2}" dt="2023-09-20T13:51:21.458" v="53" actId="478"/>
        <pc:sldMkLst>
          <pc:docMk/>
          <pc:sldMk cId="221098527" sldId="2147472107"/>
        </pc:sldMkLst>
        <pc:spChg chg="del">
          <ac:chgData name="Ilona Pols" userId="66542220-73f0-4253-bf8a-f396b91d0ba8" providerId="ADAL" clId="{4B3E6442-2291-4D9F-BB8A-0697790F74F2}" dt="2023-09-20T13:51:21.458" v="53" actId="478"/>
          <ac:spMkLst>
            <pc:docMk/>
            <pc:sldMk cId="221098527" sldId="2147472107"/>
            <ac:spMk id="4" creationId="{69A14823-A8A7-4048-D2AF-D9E62BAA490C}"/>
          </ac:spMkLst>
        </pc:spChg>
      </pc:sldChg>
      <pc:sldChg chg="modSp">
        <pc:chgData name="Ilona Pols" userId="66542220-73f0-4253-bf8a-f396b91d0ba8" providerId="ADAL" clId="{4B3E6442-2291-4D9F-BB8A-0697790F74F2}" dt="2023-09-20T13:48:39.809" v="47" actId="1076"/>
        <pc:sldMkLst>
          <pc:docMk/>
          <pc:sldMk cId="243257400" sldId="2147472108"/>
        </pc:sldMkLst>
        <pc:picChg chg="mod">
          <ac:chgData name="Ilona Pols" userId="66542220-73f0-4253-bf8a-f396b91d0ba8" providerId="ADAL" clId="{4B3E6442-2291-4D9F-BB8A-0697790F74F2}" dt="2023-09-20T13:48:39.809" v="47" actId="1076"/>
          <ac:picMkLst>
            <pc:docMk/>
            <pc:sldMk cId="243257400" sldId="2147472108"/>
            <ac:picMk id="3074" creationId="{64A805BF-DBF8-6C0D-B39B-3DA835CDD9CD}"/>
          </ac:picMkLst>
        </pc:picChg>
      </pc:sldChg>
      <pc:sldChg chg="delSp modSp del mod">
        <pc:chgData name="Ilona Pols" userId="66542220-73f0-4253-bf8a-f396b91d0ba8" providerId="ADAL" clId="{4B3E6442-2291-4D9F-BB8A-0697790F74F2}" dt="2023-09-20T13:58:35.743" v="82" actId="47"/>
        <pc:sldMkLst>
          <pc:docMk/>
          <pc:sldMk cId="1435729691" sldId="2147472120"/>
        </pc:sldMkLst>
        <pc:spChg chg="mod">
          <ac:chgData name="Ilona Pols" userId="66542220-73f0-4253-bf8a-f396b91d0ba8" providerId="ADAL" clId="{4B3E6442-2291-4D9F-BB8A-0697790F74F2}" dt="2023-09-20T13:53:56.145" v="55" actId="207"/>
          <ac:spMkLst>
            <pc:docMk/>
            <pc:sldMk cId="1435729691" sldId="2147472120"/>
            <ac:spMk id="5" creationId="{B2026768-3A9A-0A4C-EFB7-7524F19E2985}"/>
          </ac:spMkLst>
        </pc:spChg>
        <pc:spChg chg="mod">
          <ac:chgData name="Ilona Pols" userId="66542220-73f0-4253-bf8a-f396b91d0ba8" providerId="ADAL" clId="{4B3E6442-2291-4D9F-BB8A-0697790F74F2}" dt="2023-09-20T13:53:56.145" v="55" actId="207"/>
          <ac:spMkLst>
            <pc:docMk/>
            <pc:sldMk cId="1435729691" sldId="2147472120"/>
            <ac:spMk id="6" creationId="{FEA53479-6F23-B812-D811-210F7ABBDAE2}"/>
          </ac:spMkLst>
        </pc:spChg>
        <pc:spChg chg="mod">
          <ac:chgData name="Ilona Pols" userId="66542220-73f0-4253-bf8a-f396b91d0ba8" providerId="ADAL" clId="{4B3E6442-2291-4D9F-BB8A-0697790F74F2}" dt="2023-09-20T13:54:16.533" v="57" actId="207"/>
          <ac:spMkLst>
            <pc:docMk/>
            <pc:sldMk cId="1435729691" sldId="2147472120"/>
            <ac:spMk id="16" creationId="{9FAFB38F-4C83-28EA-9BEA-653CD4F6F548}"/>
          </ac:spMkLst>
        </pc:spChg>
        <pc:spChg chg="mod">
          <ac:chgData name="Ilona Pols" userId="66542220-73f0-4253-bf8a-f396b91d0ba8" providerId="ADAL" clId="{4B3E6442-2291-4D9F-BB8A-0697790F74F2}" dt="2023-09-20T13:54:16.533" v="57" actId="207"/>
          <ac:spMkLst>
            <pc:docMk/>
            <pc:sldMk cId="1435729691" sldId="2147472120"/>
            <ac:spMk id="17" creationId="{9651E284-7607-671F-2B25-242039F90E0F}"/>
          </ac:spMkLst>
        </pc:spChg>
        <pc:spChg chg="mod">
          <ac:chgData name="Ilona Pols" userId="66542220-73f0-4253-bf8a-f396b91d0ba8" providerId="ADAL" clId="{4B3E6442-2291-4D9F-BB8A-0697790F74F2}" dt="2023-09-20T13:53:56.145" v="55" actId="207"/>
          <ac:spMkLst>
            <pc:docMk/>
            <pc:sldMk cId="1435729691" sldId="2147472120"/>
            <ac:spMk id="40" creationId="{E5D10BEF-508A-AB5C-01F7-5B3A1584B022}"/>
          </ac:spMkLst>
        </pc:spChg>
        <pc:spChg chg="mod">
          <ac:chgData name="Ilona Pols" userId="66542220-73f0-4253-bf8a-f396b91d0ba8" providerId="ADAL" clId="{4B3E6442-2291-4D9F-BB8A-0697790F74F2}" dt="2023-09-20T13:54:16.533" v="57" actId="207"/>
          <ac:spMkLst>
            <pc:docMk/>
            <pc:sldMk cId="1435729691" sldId="2147472120"/>
            <ac:spMk id="60" creationId="{8EE211FB-B0A0-1167-B7C8-7220F066FE66}"/>
          </ac:spMkLst>
        </pc:spChg>
        <pc:spChg chg="del">
          <ac:chgData name="Ilona Pols" userId="66542220-73f0-4253-bf8a-f396b91d0ba8" providerId="ADAL" clId="{4B3E6442-2291-4D9F-BB8A-0697790F74F2}" dt="2023-09-20T13:51:43.467" v="54" actId="478"/>
          <ac:spMkLst>
            <pc:docMk/>
            <pc:sldMk cId="1435729691" sldId="2147472120"/>
            <ac:spMk id="63" creationId="{2467DDD4-CCCC-E062-599E-6973323997EB}"/>
          </ac:spMkLst>
        </pc:spChg>
      </pc:sldChg>
      <pc:sldChg chg="del">
        <pc:chgData name="Ilona Pols" userId="66542220-73f0-4253-bf8a-f396b91d0ba8" providerId="ADAL" clId="{4B3E6442-2291-4D9F-BB8A-0697790F74F2}" dt="2023-09-20T13:58:48.191" v="84" actId="47"/>
        <pc:sldMkLst>
          <pc:docMk/>
          <pc:sldMk cId="2193132447" sldId="2147472121"/>
        </pc:sldMkLst>
      </pc:sldChg>
      <pc:sldChg chg="delSp modSp mod">
        <pc:chgData name="Ilona Pols" userId="66542220-73f0-4253-bf8a-f396b91d0ba8" providerId="ADAL" clId="{4B3E6442-2291-4D9F-BB8A-0697790F74F2}" dt="2023-09-20T13:49:21.298" v="52" actId="478"/>
        <pc:sldMkLst>
          <pc:docMk/>
          <pc:sldMk cId="2936431578" sldId="2147472122"/>
        </pc:sldMkLst>
        <pc:spChg chg="del">
          <ac:chgData name="Ilona Pols" userId="66542220-73f0-4253-bf8a-f396b91d0ba8" providerId="ADAL" clId="{4B3E6442-2291-4D9F-BB8A-0697790F74F2}" dt="2023-09-20T13:49:21.298" v="52" actId="478"/>
          <ac:spMkLst>
            <pc:docMk/>
            <pc:sldMk cId="2936431578" sldId="2147472122"/>
            <ac:spMk id="2" creationId="{E830BC89-C5F4-9A69-3399-442DA0A07678}"/>
          </ac:spMkLst>
        </pc:spChg>
        <pc:picChg chg="mod">
          <ac:chgData name="Ilona Pols" userId="66542220-73f0-4253-bf8a-f396b91d0ba8" providerId="ADAL" clId="{4B3E6442-2291-4D9F-BB8A-0697790F74F2}" dt="2023-09-20T13:49:16.938" v="51" actId="14100"/>
          <ac:picMkLst>
            <pc:docMk/>
            <pc:sldMk cId="2936431578" sldId="2147472122"/>
            <ac:picMk id="10" creationId="{998A3B91-2B12-235A-8BD4-AEA00337F149}"/>
          </ac:picMkLst>
        </pc:picChg>
      </pc:sldChg>
      <pc:sldChg chg="del">
        <pc:chgData name="Ilona Pols" userId="66542220-73f0-4253-bf8a-f396b91d0ba8" providerId="ADAL" clId="{4B3E6442-2291-4D9F-BB8A-0697790F74F2}" dt="2023-09-20T13:58:37.422" v="83" actId="47"/>
        <pc:sldMkLst>
          <pc:docMk/>
          <pc:sldMk cId="4170519787" sldId="2147472123"/>
        </pc:sldMkLst>
      </pc:sldChg>
      <pc:sldChg chg="delSp modSp add mod">
        <pc:chgData name="Ilona Pols" userId="66542220-73f0-4253-bf8a-f396b91d0ba8" providerId="ADAL" clId="{4B3E6442-2291-4D9F-BB8A-0697790F74F2}" dt="2023-09-20T13:43:35.509" v="15" actId="478"/>
        <pc:sldMkLst>
          <pc:docMk/>
          <pc:sldMk cId="3943876395" sldId="2147472125"/>
        </pc:sldMkLst>
        <pc:picChg chg="mod">
          <ac:chgData name="Ilona Pols" userId="66542220-73f0-4253-bf8a-f396b91d0ba8" providerId="ADAL" clId="{4B3E6442-2291-4D9F-BB8A-0697790F74F2}" dt="2023-09-20T13:43:30.716" v="13" actId="1076"/>
          <ac:picMkLst>
            <pc:docMk/>
            <pc:sldMk cId="3943876395" sldId="2147472125"/>
            <ac:picMk id="9" creationId="{A6B28BFA-29CB-5C46-524E-065F2915A18B}"/>
          </ac:picMkLst>
        </pc:picChg>
        <pc:picChg chg="mod">
          <ac:chgData name="Ilona Pols" userId="66542220-73f0-4253-bf8a-f396b91d0ba8" providerId="ADAL" clId="{4B3E6442-2291-4D9F-BB8A-0697790F74F2}" dt="2023-09-20T13:43:22.283" v="12" actId="1076"/>
          <ac:picMkLst>
            <pc:docMk/>
            <pc:sldMk cId="3943876395" sldId="2147472125"/>
            <ac:picMk id="6146" creationId="{6CDFBD91-E113-88A3-028A-6A67CF491D69}"/>
          </ac:picMkLst>
        </pc:picChg>
        <pc:cxnChg chg="del">
          <ac:chgData name="Ilona Pols" userId="66542220-73f0-4253-bf8a-f396b91d0ba8" providerId="ADAL" clId="{4B3E6442-2291-4D9F-BB8A-0697790F74F2}" dt="2023-09-20T13:43:33.788" v="14" actId="478"/>
          <ac:cxnSpMkLst>
            <pc:docMk/>
            <pc:sldMk cId="3943876395" sldId="2147472125"/>
            <ac:cxnSpMk id="2" creationId="{749387D7-5EE5-58ED-E33B-7C068AC59404}"/>
          </ac:cxnSpMkLst>
        </pc:cxnChg>
        <pc:cxnChg chg="del">
          <ac:chgData name="Ilona Pols" userId="66542220-73f0-4253-bf8a-f396b91d0ba8" providerId="ADAL" clId="{4B3E6442-2291-4D9F-BB8A-0697790F74F2}" dt="2023-09-20T13:43:35.509" v="15" actId="478"/>
          <ac:cxnSpMkLst>
            <pc:docMk/>
            <pc:sldMk cId="3943876395" sldId="2147472125"/>
            <ac:cxnSpMk id="10" creationId="{D8B31081-1478-0505-A546-48FB2CCC55C4}"/>
          </ac:cxnSpMkLst>
        </pc:cxnChg>
      </pc:sldChg>
      <pc:sldChg chg="addSp delSp modSp add mod">
        <pc:chgData name="Ilona Pols" userId="66542220-73f0-4253-bf8a-f396b91d0ba8" providerId="ADAL" clId="{4B3E6442-2291-4D9F-BB8A-0697790F74F2}" dt="2023-09-20T13:47:02.068" v="37" actId="207"/>
        <pc:sldMkLst>
          <pc:docMk/>
          <pc:sldMk cId="1056614944" sldId="2147472126"/>
        </pc:sldMkLst>
        <pc:spChg chg="del">
          <ac:chgData name="Ilona Pols" userId="66542220-73f0-4253-bf8a-f396b91d0ba8" providerId="ADAL" clId="{4B3E6442-2291-4D9F-BB8A-0697790F74F2}" dt="2023-09-20T13:44:44.794" v="18" actId="478"/>
          <ac:spMkLst>
            <pc:docMk/>
            <pc:sldMk cId="1056614944" sldId="2147472126"/>
            <ac:spMk id="4" creationId="{26E629A7-D95F-C76F-463F-EADF981E99D4}"/>
          </ac:spMkLst>
        </pc:spChg>
        <pc:spChg chg="add del mod">
          <ac:chgData name="Ilona Pols" userId="66542220-73f0-4253-bf8a-f396b91d0ba8" providerId="ADAL" clId="{4B3E6442-2291-4D9F-BB8A-0697790F74F2}" dt="2023-09-20T13:44:47.952" v="20"/>
          <ac:spMkLst>
            <pc:docMk/>
            <pc:sldMk cId="1056614944" sldId="2147472126"/>
            <ac:spMk id="7" creationId="{5DC4A122-1B35-8762-3AE1-CAF74252A604}"/>
          </ac:spMkLst>
        </pc:spChg>
        <pc:spChg chg="add del mod">
          <ac:chgData name="Ilona Pols" userId="66542220-73f0-4253-bf8a-f396b91d0ba8" providerId="ADAL" clId="{4B3E6442-2291-4D9F-BB8A-0697790F74F2}" dt="2023-09-20T13:44:47.952" v="20"/>
          <ac:spMkLst>
            <pc:docMk/>
            <pc:sldMk cId="1056614944" sldId="2147472126"/>
            <ac:spMk id="8" creationId="{9F670B22-5374-DF8A-2F35-031C3812135E}"/>
          </ac:spMkLst>
        </pc:spChg>
        <pc:spChg chg="add del mod">
          <ac:chgData name="Ilona Pols" userId="66542220-73f0-4253-bf8a-f396b91d0ba8" providerId="ADAL" clId="{4B3E6442-2291-4D9F-BB8A-0697790F74F2}" dt="2023-09-20T13:44:57.399" v="22"/>
          <ac:spMkLst>
            <pc:docMk/>
            <pc:sldMk cId="1056614944" sldId="2147472126"/>
            <ac:spMk id="10" creationId="{58CCD049-61ED-6BC8-4AD0-16ECF5DBED7D}"/>
          </ac:spMkLst>
        </pc:spChg>
        <pc:spChg chg="add del mod">
          <ac:chgData name="Ilona Pols" userId="66542220-73f0-4253-bf8a-f396b91d0ba8" providerId="ADAL" clId="{4B3E6442-2291-4D9F-BB8A-0697790F74F2}" dt="2023-09-20T13:44:57.399" v="22"/>
          <ac:spMkLst>
            <pc:docMk/>
            <pc:sldMk cId="1056614944" sldId="2147472126"/>
            <ac:spMk id="11" creationId="{1B709FCB-5C29-0C9C-CAF6-65A923C92282}"/>
          </ac:spMkLst>
        </pc:spChg>
        <pc:spChg chg="add mod">
          <ac:chgData name="Ilona Pols" userId="66542220-73f0-4253-bf8a-f396b91d0ba8" providerId="ADAL" clId="{4B3E6442-2291-4D9F-BB8A-0697790F74F2}" dt="2023-09-20T13:46:56.419" v="36" actId="207"/>
          <ac:spMkLst>
            <pc:docMk/>
            <pc:sldMk cId="1056614944" sldId="2147472126"/>
            <ac:spMk id="12" creationId="{BF09C592-0E2F-1FC3-4524-CBAFDFBE42F5}"/>
          </ac:spMkLst>
        </pc:spChg>
        <pc:spChg chg="add mod">
          <ac:chgData name="Ilona Pols" userId="66542220-73f0-4253-bf8a-f396b91d0ba8" providerId="ADAL" clId="{4B3E6442-2291-4D9F-BB8A-0697790F74F2}" dt="2023-09-20T13:47:02.068" v="37" actId="207"/>
          <ac:spMkLst>
            <pc:docMk/>
            <pc:sldMk cId="1056614944" sldId="2147472126"/>
            <ac:spMk id="13" creationId="{5957FC6F-AE51-E2E0-A6A1-13A4FAE831EB}"/>
          </ac:spMkLst>
        </pc:spChg>
      </pc:sldChg>
      <pc:sldChg chg="modSp add del mod">
        <pc:chgData name="Ilona Pols" userId="66542220-73f0-4253-bf8a-f396b91d0ba8" providerId="ADAL" clId="{4B3E6442-2291-4D9F-BB8A-0697790F74F2}" dt="2023-09-20T13:55:35.592" v="63" actId="47"/>
        <pc:sldMkLst>
          <pc:docMk/>
          <pc:sldMk cId="3000684975" sldId="2147472127"/>
        </pc:sldMkLst>
        <pc:spChg chg="mod">
          <ac:chgData name="Ilona Pols" userId="66542220-73f0-4253-bf8a-f396b91d0ba8" providerId="ADAL" clId="{4B3E6442-2291-4D9F-BB8A-0697790F74F2}" dt="2023-09-20T13:55:11.602" v="62" actId="207"/>
          <ac:spMkLst>
            <pc:docMk/>
            <pc:sldMk cId="3000684975" sldId="2147472127"/>
            <ac:spMk id="4" creationId="{98995FF7-A771-E1C4-E0A8-0D2208AFB70E}"/>
          </ac:spMkLst>
        </pc:spChg>
      </pc:sldChg>
      <pc:sldChg chg="modSp mod">
        <pc:chgData name="Ilona Pols" userId="66542220-73f0-4253-bf8a-f396b91d0ba8" providerId="ADAL" clId="{4B3E6442-2291-4D9F-BB8A-0697790F74F2}" dt="2023-09-20T13:58:00.447" v="79" actId="2711"/>
        <pc:sldMkLst>
          <pc:docMk/>
          <pc:sldMk cId="4107301527" sldId="2147472127"/>
        </pc:sldMkLst>
        <pc:spChg chg="mod">
          <ac:chgData name="Ilona Pols" userId="66542220-73f0-4253-bf8a-f396b91d0ba8" providerId="ADAL" clId="{4B3E6442-2291-4D9F-BB8A-0697790F74F2}" dt="2023-09-20T13:58:00.447" v="79" actId="2711"/>
          <ac:spMkLst>
            <pc:docMk/>
            <pc:sldMk cId="4107301527" sldId="2147472127"/>
            <ac:spMk id="4" creationId="{98995FF7-A771-E1C4-E0A8-0D2208AFB70E}"/>
          </ac:spMkLst>
        </pc:spChg>
      </pc:sldChg>
      <pc:sldChg chg="addSp delSp modSp mod">
        <pc:chgData name="Ilona Pols" userId="66542220-73f0-4253-bf8a-f396b91d0ba8" providerId="ADAL" clId="{4B3E6442-2291-4D9F-BB8A-0697790F74F2}" dt="2023-09-20T13:58:22.490" v="81"/>
        <pc:sldMkLst>
          <pc:docMk/>
          <pc:sldMk cId="1681739301" sldId="2147472128"/>
        </pc:sldMkLst>
        <pc:spChg chg="mod">
          <ac:chgData name="Ilona Pols" userId="66542220-73f0-4253-bf8a-f396b91d0ba8" providerId="ADAL" clId="{4B3E6442-2291-4D9F-BB8A-0697790F74F2}" dt="2023-09-20T13:58:12.591" v="80" actId="2711"/>
          <ac:spMkLst>
            <pc:docMk/>
            <pc:sldMk cId="1681739301" sldId="2147472128"/>
            <ac:spMk id="4" creationId="{98995FF7-A771-E1C4-E0A8-0D2208AFB70E}"/>
          </ac:spMkLst>
        </pc:spChg>
        <pc:spChg chg="add del mod">
          <ac:chgData name="Ilona Pols" userId="66542220-73f0-4253-bf8a-f396b91d0ba8" providerId="ADAL" clId="{4B3E6442-2291-4D9F-BB8A-0697790F74F2}" dt="2023-09-20T13:57:51.193" v="78" actId="478"/>
          <ac:spMkLst>
            <pc:docMk/>
            <pc:sldMk cId="1681739301" sldId="2147472128"/>
            <ac:spMk id="7" creationId="{86D597A6-743F-FE54-019C-087160084F18}"/>
          </ac:spMkLst>
        </pc:spChg>
        <pc:spChg chg="add mod">
          <ac:chgData name="Ilona Pols" userId="66542220-73f0-4253-bf8a-f396b91d0ba8" providerId="ADAL" clId="{4B3E6442-2291-4D9F-BB8A-0697790F74F2}" dt="2023-09-20T13:58:22.490" v="81"/>
          <ac:spMkLst>
            <pc:docMk/>
            <pc:sldMk cId="1681739301" sldId="2147472128"/>
            <ac:spMk id="10" creationId="{86260BB1-8772-7D60-FD13-A7A2BF2B11F9}"/>
          </ac:spMkLst>
        </pc:spChg>
        <pc:picChg chg="add del mod">
          <ac:chgData name="Ilona Pols" userId="66542220-73f0-4253-bf8a-f396b91d0ba8" providerId="ADAL" clId="{4B3E6442-2291-4D9F-BB8A-0697790F74F2}" dt="2023-09-20T13:56:48.166" v="69"/>
          <ac:picMkLst>
            <pc:docMk/>
            <pc:sldMk cId="1681739301" sldId="2147472128"/>
            <ac:picMk id="5" creationId="{31540D0B-29E1-C259-C221-81D0F1ED7CFF}"/>
          </ac:picMkLst>
        </pc:picChg>
        <pc:picChg chg="add del mod">
          <ac:chgData name="Ilona Pols" userId="66542220-73f0-4253-bf8a-f396b91d0ba8" providerId="ADAL" clId="{4B3E6442-2291-4D9F-BB8A-0697790F74F2}" dt="2023-09-20T13:57:49.346" v="77" actId="478"/>
          <ac:picMkLst>
            <pc:docMk/>
            <pc:sldMk cId="1681739301" sldId="2147472128"/>
            <ac:picMk id="6" creationId="{6599B037-6460-7FCD-DF8A-5D78CB363B9D}"/>
          </ac:picMkLst>
        </pc:picChg>
        <pc:picChg chg="add mod">
          <ac:chgData name="Ilona Pols" userId="66542220-73f0-4253-bf8a-f396b91d0ba8" providerId="ADAL" clId="{4B3E6442-2291-4D9F-BB8A-0697790F74F2}" dt="2023-09-20T13:58:22.490" v="81"/>
          <ac:picMkLst>
            <pc:docMk/>
            <pc:sldMk cId="1681739301" sldId="2147472128"/>
            <ac:picMk id="9" creationId="{3DA00A61-51E8-B7E3-A0D0-EFB445F1D827}"/>
          </ac:picMkLst>
        </pc:picChg>
        <pc:picChg chg="del">
          <ac:chgData name="Ilona Pols" userId="66542220-73f0-4253-bf8a-f396b91d0ba8" providerId="ADAL" clId="{4B3E6442-2291-4D9F-BB8A-0697790F74F2}" dt="2023-09-20T13:56:44.457" v="67" actId="478"/>
          <ac:picMkLst>
            <pc:docMk/>
            <pc:sldMk cId="1681739301" sldId="2147472128"/>
            <ac:picMk id="20" creationId="{B504CA95-DD96-E820-CF58-B9658E91757F}"/>
          </ac:picMkLst>
        </pc:picChg>
      </pc:sldChg>
      <pc:sldChg chg="add del">
        <pc:chgData name="Ilona Pols" userId="66542220-73f0-4253-bf8a-f396b91d0ba8" providerId="ADAL" clId="{4B3E6442-2291-4D9F-BB8A-0697790F74F2}" dt="2023-09-20T13:55:35.592" v="63" actId="47"/>
        <pc:sldMkLst>
          <pc:docMk/>
          <pc:sldMk cId="1779152291" sldId="2147472128"/>
        </pc:sldMkLst>
      </pc:sldChg>
      <pc:sldChg chg="add del">
        <pc:chgData name="Ilona Pols" userId="66542220-73f0-4253-bf8a-f396b91d0ba8" providerId="ADAL" clId="{4B3E6442-2291-4D9F-BB8A-0697790F74F2}" dt="2023-09-20T13:55:35.592" v="63" actId="47"/>
        <pc:sldMkLst>
          <pc:docMk/>
          <pc:sldMk cId="503711786" sldId="2147472129"/>
        </pc:sldMkLst>
      </pc:sldChg>
      <pc:sldMasterChg chg="delSldLayout">
        <pc:chgData name="Ilona Pols" userId="66542220-73f0-4253-bf8a-f396b91d0ba8" providerId="ADAL" clId="{4B3E6442-2291-4D9F-BB8A-0697790F74F2}" dt="2023-09-20T13:55:35.592" v="63" actId="47"/>
        <pc:sldMasterMkLst>
          <pc:docMk/>
          <pc:sldMasterMk cId="611196715" sldId="2147483648"/>
        </pc:sldMasterMkLst>
        <pc:sldLayoutChg chg="del">
          <pc:chgData name="Ilona Pols" userId="66542220-73f0-4253-bf8a-f396b91d0ba8" providerId="ADAL" clId="{4B3E6442-2291-4D9F-BB8A-0697790F74F2}" dt="2023-09-20T13:55:35.592" v="63" actId="47"/>
          <pc:sldLayoutMkLst>
            <pc:docMk/>
            <pc:sldMasterMk cId="611196715" sldId="2147483648"/>
            <pc:sldLayoutMk cId="4206501077" sldId="2147483734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47CAD-9028-8A4C-A9B9-7EE470665A09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F19BC-0128-CB4A-9143-72842B9BB2C7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927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elkom Marcel Cappetti</a:t>
            </a: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0988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255533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31856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1.png"/><Relationship Id="rId5" Type="http://schemas.openxmlformats.org/officeDocument/2006/relationships/image" Target="../media/image20.jpeg"/><Relationship Id="rId10" Type="http://schemas.openxmlformats.org/officeDocument/2006/relationships/image" Target="../media/image25.pn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9.sv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1.bin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7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8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piresessions dia 1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85530" y="870765"/>
            <a:ext cx="4914260" cy="4922520"/>
          </a:xfrm>
          <a:prstGeom prst="rect">
            <a:avLst/>
          </a:prstGeom>
        </p:spPr>
      </p:pic>
      <p:sp>
        <p:nvSpPr>
          <p:cNvPr id="16" name="Tijdelijke aanduiding voor datum 15">
            <a:extLst>
              <a:ext uri="{FF2B5EF4-FFF2-40B4-BE49-F238E27FC236}">
                <a16:creationId xmlns:a16="http://schemas.microsoft.com/office/drawing/2014/main" id="{BF7C881E-55CD-C7E9-76D1-D34E0F649C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5876681"/>
            <a:ext cx="2743200" cy="3651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7" name="Tijdelijke aanduiding voor voettekst 16">
            <a:extLst>
              <a:ext uri="{FF2B5EF4-FFF2-40B4-BE49-F238E27FC236}">
                <a16:creationId xmlns:a16="http://schemas.microsoft.com/office/drawing/2014/main" id="{D8937D95-6999-4CBD-8E73-EEC3716B0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8" name="Tijdelijke aanduiding voor dianummer 17">
            <a:extLst>
              <a:ext uri="{FF2B5EF4-FFF2-40B4-BE49-F238E27FC236}">
                <a16:creationId xmlns:a16="http://schemas.microsoft.com/office/drawing/2014/main" id="{678BB510-F3BD-4008-2C48-8197B4E0D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69898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854967"/>
            <a:ext cx="12296775" cy="9222582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59690" y="1510975"/>
            <a:ext cx="2798931" cy="2300816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RVICES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290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DDD98BD-F5BF-AB61-1249-52700658A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10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B64B0E03-1E65-B67A-FEED-E819C40107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138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6317AD95-9ACE-A387-3C91-44EB28E5D7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19137"/>
            <a:ext cx="12283439" cy="8172247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8BA5EA1-2CEC-6318-5117-3DB0C4D72ADE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>
                  <a:lumMod val="100000"/>
                  <a:alpha val="32218"/>
                </a:srgbClr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9192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chemeClr val="bg1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A82CFA83-800B-C446-E032-73CBC1BCE2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457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dia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Mark Tuitert - Allyourmedia">
            <a:extLst>
              <a:ext uri="{FF2B5EF4-FFF2-40B4-BE49-F238E27FC236}">
                <a16:creationId xmlns:a16="http://schemas.microsoft.com/office/drawing/2014/main" id="{364CB78B-936B-26D8-153C-AA1CA81F27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1" r="3031"/>
          <a:stretch/>
        </p:blipFill>
        <p:spPr bwMode="auto">
          <a:xfrm>
            <a:off x="0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8BA5EA1-2CEC-6318-5117-3DB0C4D72ADE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>
                  <a:lumMod val="100000"/>
                  <a:alpha val="32218"/>
                </a:srgbClr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9192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chemeClr val="bg1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A82CFA83-800B-C446-E032-73CBC1BCE2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005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7000">
                <a:srgbClr val="E9455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6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A8837809-219F-0798-9054-0653E038B9EC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7000">
                <a:srgbClr val="E9455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C689A3E8-8747-D557-8851-800285D2214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7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CC4BE0C9-5FE8-7569-7DED-842A224E4C0A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0">
                <a:srgbClr val="E94554">
                  <a:alpha val="4800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4DBB5A55-6753-0D5D-4071-C174483250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83568134-BF5B-CB83-992C-1625E0A4CDFE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603224EE-47F0-DA24-E29E-3700ACA999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75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/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779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DED3002-44AA-A447-AF79-835809A83906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/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75F2CE1D-36B8-92FB-6438-59A02AA3DB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C3E41DFF-629A-99EE-8ACB-73B45BF99D8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51A47D60-3DC2-4DFC-81E3-28B64D48DB2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6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1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32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87074308-75B5-F8FA-7ED2-5EA57B4C52C5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>
                  <a:alpha val="48000"/>
                </a:srgbClr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A491A202-0D35-FEDE-A214-A43612D2BA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52377DF-43F7-3A3F-36B5-C7C45BABE60E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29FCD13-6B72-AFC3-3380-62A2307A7C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648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/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105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18FD5D12-0AD2-62C0-A45C-FC203CFFCE33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/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AB7F2440-7789-9A29-6F56-0D0F741ED8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02C8F816-15BD-2ED7-DF4C-BD10847B9E9C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D7414F-2FB7-470E-6C4B-796404F340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069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D57379AE-1BA7-DF0D-46C4-FDB52595CED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>
                  <a:alpha val="48000"/>
                </a:srgbClr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808B42B1-4CEB-9EF1-1870-71F28B4924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85B9FDA1-BA86-9168-46B9-54AC862BBC98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7575942-7677-3A62-1A65-3328AA22883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28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/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78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C9AB34B-BCBF-575D-7110-BD9BAF43F49B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/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0738A687-8267-C5FE-D0E8-247C55B424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A6949F12-68A8-210E-B752-7B7AEF7D2DE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02965D16-D37E-F732-7FE8-DBCA30945B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195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E67CB26D-AC13-56D5-4F65-1FD509591882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>
                  <a:alpha val="48000"/>
                </a:srgbClr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AEFEB5F-596A-31A1-74FA-21FFEF611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C4DDE1E4-AC1D-FE6E-99EC-E8889511988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9AB41236-7132-836D-2D29-0F6EE08B877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889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581399" y="1960641"/>
            <a:ext cx="8278337" cy="4270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1366043"/>
            <a:ext cx="2741612" cy="1062197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CC44BB3-E263-97CA-BE80-23AD7DCC39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9820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581399" y="2035174"/>
            <a:ext cx="8278337" cy="4270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6140131" cy="374968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  <p:sp>
        <p:nvSpPr>
          <p:cNvPr id="2" name="Tijdelijke aanduiding voor afbeelding 2">
            <a:extLst>
              <a:ext uri="{FF2B5EF4-FFF2-40B4-BE49-F238E27FC236}">
                <a16:creationId xmlns:a16="http://schemas.microsoft.com/office/drawing/2014/main" id="{55F7A5AE-74B0-5EA3-F126-09359FADB31F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929639" y="2035174"/>
            <a:ext cx="2504441" cy="34986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E7D38B1-11C4-5174-00DD-8925B8A2B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850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1825625"/>
            <a:ext cx="10945336" cy="461692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5256211" cy="459582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08220A17-02C4-88AB-5D63-D5078A4F5C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04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2">
    <p:bg>
      <p:bgPr>
        <a:gradFill>
          <a:gsLst>
            <a:gs pos="100000">
              <a:srgbClr val="E94554"/>
            </a:gs>
            <a:gs pos="0">
              <a:srgbClr val="FFDD00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20961" y="540898"/>
            <a:ext cx="1865778" cy="1977725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8FCD152D-9EB8-6E34-13F6-02FD16837A5D}"/>
              </a:ext>
            </a:extLst>
          </p:cNvPr>
          <p:cNvSpPr txBox="1">
            <a:spLocks/>
          </p:cNvSpPr>
          <p:nvPr userDrawn="1"/>
        </p:nvSpPr>
        <p:spPr>
          <a:xfrm>
            <a:off x="8652455" y="2537886"/>
            <a:ext cx="3402790" cy="121009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200"/>
              <a:t>NETWORK</a:t>
            </a:r>
          </a:p>
        </p:txBody>
      </p:sp>
    </p:spTree>
    <p:extLst>
      <p:ext uri="{BB962C8B-B14F-4D97-AF65-F5344CB8AC3E}">
        <p14:creationId xmlns:p14="http://schemas.microsoft.com/office/powerpoint/2010/main" val="3096611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beelding met bijschri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5256211" cy="459582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230DDB1-ABFA-719C-2DA6-75F65735C9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32862" y="652549"/>
            <a:ext cx="1257300" cy="53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6643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fbeelding met bijschri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5256211" cy="459582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38457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365125"/>
            <a:ext cx="10945336" cy="57816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487333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2DD2C03-A06A-DBFE-E84B-07329442AC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400" b="0" i="0">
                <a:latin typeface="IBM Plex Sans" panose="020B0503050203000203" pitchFamily="34" charset="0"/>
              </a:defRPr>
            </a:lvl1pPr>
            <a:lvl2pPr>
              <a:defRPr sz="2000" b="0" i="0">
                <a:latin typeface="IBM Plex Sans" panose="020B0503050203000203" pitchFamily="34" charset="0"/>
              </a:defRPr>
            </a:lvl2pPr>
            <a:lvl3pPr>
              <a:defRPr sz="1800" b="0" i="0">
                <a:latin typeface="IBM Plex Sans" panose="020B0503050203000203" pitchFamily="34" charset="0"/>
              </a:defRPr>
            </a:lvl3pPr>
            <a:lvl4pPr>
              <a:defRPr sz="1600" b="0" i="0">
                <a:latin typeface="IBM Plex Sans" panose="020B0503050203000203" pitchFamily="34" charset="0"/>
              </a:defRPr>
            </a:lvl4pPr>
            <a:lvl5pPr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1759BC5-4131-FF79-FAD4-4F4AD8EE2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400" b="0" i="0">
                <a:latin typeface="IBM Plex Sans" panose="020B0503050203000203" pitchFamily="34" charset="0"/>
              </a:defRPr>
            </a:lvl1pPr>
            <a:lvl2pPr>
              <a:defRPr sz="2000" b="0" i="0">
                <a:latin typeface="IBM Plex Sans" panose="020B0503050203000203" pitchFamily="34" charset="0"/>
              </a:defRPr>
            </a:lvl2pPr>
            <a:lvl3pPr>
              <a:defRPr sz="1800" b="0" i="0">
                <a:latin typeface="IBM Plex Sans" panose="020B0503050203000203" pitchFamily="34" charset="0"/>
              </a:defRPr>
            </a:lvl3pPr>
            <a:lvl4pPr>
              <a:defRPr sz="1600" b="0" i="0">
                <a:latin typeface="IBM Plex Sans" panose="020B0503050203000203" pitchFamily="34" charset="0"/>
              </a:defRPr>
            </a:lvl4pPr>
            <a:lvl5pPr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4" name="Tijdelijke aanduiding voor datum 13">
            <a:extLst>
              <a:ext uri="{FF2B5EF4-FFF2-40B4-BE49-F238E27FC236}">
                <a16:creationId xmlns:a16="http://schemas.microsoft.com/office/drawing/2014/main" id="{DC4B9017-48AF-0A5F-8126-E49774166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5" name="Tijdelijke aanduiding voor voettekst 14">
            <a:extLst>
              <a:ext uri="{FF2B5EF4-FFF2-40B4-BE49-F238E27FC236}">
                <a16:creationId xmlns:a16="http://schemas.microsoft.com/office/drawing/2014/main" id="{C426D1AB-9C9D-AADC-AEED-EF7136DFB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6" name="Tijdelijke aanduiding voor dianummer 15">
            <a:extLst>
              <a:ext uri="{FF2B5EF4-FFF2-40B4-BE49-F238E27FC236}">
                <a16:creationId xmlns:a16="http://schemas.microsoft.com/office/drawing/2014/main" id="{319604F0-BB97-3179-2116-ACF0F141A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5DD0D4F-9371-18DA-D4D6-17A7961B3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1070E7C-C6ED-6815-E47E-61C0A5775C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3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150414-9450-B8BA-3780-2CAE5C5F2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3E95A04-8B89-088F-B001-0C0655FF0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223437"/>
            <a:ext cx="6172200" cy="4023360"/>
          </a:xfrm>
        </p:spPr>
        <p:txBody>
          <a:bodyPr/>
          <a:lstStyle>
            <a:lvl1pPr>
              <a:defRPr sz="3200" b="0" i="0">
                <a:latin typeface="IBM Plex Sans" panose="020B0503050203000203" pitchFamily="34" charset="0"/>
              </a:defRPr>
            </a:lvl1pPr>
            <a:lvl2pPr>
              <a:defRPr sz="2800" b="0" i="0">
                <a:latin typeface="IBM Plex Sans" panose="020B0503050203000203" pitchFamily="34" charset="0"/>
              </a:defRPr>
            </a:lvl2pPr>
            <a:lvl3pPr>
              <a:defRPr sz="2400" b="0" i="0">
                <a:latin typeface="IBM Plex Sans" panose="020B0503050203000203" pitchFamily="34" charset="0"/>
              </a:defRPr>
            </a:lvl3pPr>
            <a:lvl4pPr>
              <a:defRPr sz="2000" b="0" i="0">
                <a:latin typeface="IBM Plex Sans" panose="020B0503050203000203" pitchFamily="34" charset="0"/>
              </a:defRPr>
            </a:lvl4pPr>
            <a:lvl5pPr>
              <a:defRPr sz="2000" b="0" i="0">
                <a:latin typeface="IBM Plex Sans" panose="020B0503050203000203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4BF6B9C-C428-F7FA-7334-EADC12FFEE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223435"/>
            <a:ext cx="3932237" cy="3927107"/>
          </a:xfrm>
        </p:spPr>
        <p:txBody>
          <a:bodyPr/>
          <a:lstStyle>
            <a:lvl1pPr marL="0" indent="0">
              <a:buNone/>
              <a:defRPr sz="1600" b="0" i="0">
                <a:latin typeface="IBM Plex Sans" panose="020B05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C6A2C7D8-CEAB-74B6-5055-08D4C96819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  <p:sp>
        <p:nvSpPr>
          <p:cNvPr id="9" name="Tijdelijke aanduiding voor datum 13">
            <a:extLst>
              <a:ext uri="{FF2B5EF4-FFF2-40B4-BE49-F238E27FC236}">
                <a16:creationId xmlns:a16="http://schemas.microsoft.com/office/drawing/2014/main" id="{30609B97-A2F5-DAAD-D733-0B40B642D4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0" name="Tijdelijke aanduiding voor voettekst 14">
            <a:extLst>
              <a:ext uri="{FF2B5EF4-FFF2-40B4-BE49-F238E27FC236}">
                <a16:creationId xmlns:a16="http://schemas.microsoft.com/office/drawing/2014/main" id="{F39569B3-45EB-5DEA-3C81-9CC1E30F1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1" name="Tijdelijke aanduiding voor dianummer 15">
            <a:extLst>
              <a:ext uri="{FF2B5EF4-FFF2-40B4-BE49-F238E27FC236}">
                <a16:creationId xmlns:a16="http://schemas.microsoft.com/office/drawing/2014/main" id="{1BBB03C6-E671-8C3D-F8C0-CFEB2ABF4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826507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F70C180-B230-A4D2-9DF0-425664FD2D49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FB1A898-0376-D527-CE93-365C69BB13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Upcoming</a:t>
            </a:r>
            <a:r>
              <a:rPr lang="nl-NL"/>
              <a:t> Event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4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0D3CB6AE-711F-59EF-5F34-F08BDDA6B3A2}"/>
              </a:ext>
            </a:extLst>
          </p:cNvPr>
          <p:cNvSpPr/>
          <p:nvPr userDrawn="1"/>
        </p:nvSpPr>
        <p:spPr>
          <a:xfrm>
            <a:off x="983351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49B50E0F-E84B-6F77-4EBD-AA611D32B015}"/>
              </a:ext>
            </a:extLst>
          </p:cNvPr>
          <p:cNvSpPr/>
          <p:nvPr userDrawn="1"/>
        </p:nvSpPr>
        <p:spPr>
          <a:xfrm>
            <a:off x="3469376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DA6D3C36-E583-8B38-E4A0-7B4FF188AC52}"/>
              </a:ext>
            </a:extLst>
          </p:cNvPr>
          <p:cNvSpPr/>
          <p:nvPr userDrawn="1"/>
        </p:nvSpPr>
        <p:spPr>
          <a:xfrm>
            <a:off x="5964926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Tijdelijke aanduiding voor inhoud 2">
            <a:extLst>
              <a:ext uri="{FF2B5EF4-FFF2-40B4-BE49-F238E27FC236}">
                <a16:creationId xmlns:a16="http://schemas.microsoft.com/office/drawing/2014/main" id="{D66ED98A-27DF-4D2F-A851-C87B50F6EF6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83548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27" name="Tijdelijke aanduiding voor inhoud 2">
            <a:extLst>
              <a:ext uri="{FF2B5EF4-FFF2-40B4-BE49-F238E27FC236}">
                <a16:creationId xmlns:a16="http://schemas.microsoft.com/office/drawing/2014/main" id="{2BA30251-1542-4F39-BBCE-0FB3F508EFE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869573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575275CD-5B27-3EEE-3CC5-9B00E05CED95}"/>
              </a:ext>
            </a:extLst>
          </p:cNvPr>
          <p:cNvSpPr/>
          <p:nvPr userDrawn="1"/>
        </p:nvSpPr>
        <p:spPr>
          <a:xfrm>
            <a:off x="983351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Tijdelijke aanduiding voor inhoud 2">
            <a:extLst>
              <a:ext uri="{FF2B5EF4-FFF2-40B4-BE49-F238E27FC236}">
                <a16:creationId xmlns:a16="http://schemas.microsoft.com/office/drawing/2014/main" id="{9B7DACF5-E006-74F2-D99C-DED6177D150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82174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30" name="Rechthoek 29">
            <a:extLst>
              <a:ext uri="{FF2B5EF4-FFF2-40B4-BE49-F238E27FC236}">
                <a16:creationId xmlns:a16="http://schemas.microsoft.com/office/drawing/2014/main" id="{102C1468-BA8C-2463-AC13-B9A53C801B50}"/>
              </a:ext>
            </a:extLst>
          </p:cNvPr>
          <p:cNvSpPr/>
          <p:nvPr userDrawn="1"/>
        </p:nvSpPr>
        <p:spPr>
          <a:xfrm>
            <a:off x="3459851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Tijdelijke aanduiding voor inhoud 2">
            <a:extLst>
              <a:ext uri="{FF2B5EF4-FFF2-40B4-BE49-F238E27FC236}">
                <a16:creationId xmlns:a16="http://schemas.microsoft.com/office/drawing/2014/main" id="{51742719-C79A-C169-9009-2D034C0F25D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868199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32" name="Rechthoek 31">
            <a:extLst>
              <a:ext uri="{FF2B5EF4-FFF2-40B4-BE49-F238E27FC236}">
                <a16:creationId xmlns:a16="http://schemas.microsoft.com/office/drawing/2014/main" id="{22E6EB6B-52AC-F765-8835-09360E1EC9EA}"/>
              </a:ext>
            </a:extLst>
          </p:cNvPr>
          <p:cNvSpPr/>
          <p:nvPr userDrawn="1"/>
        </p:nvSpPr>
        <p:spPr>
          <a:xfrm>
            <a:off x="5945876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70762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F70C180-B230-A4D2-9DF0-425664FD2D49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FB1A898-0376-D527-CE93-365C69BB13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artners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grpSp>
        <p:nvGrpSpPr>
          <p:cNvPr id="36" name="Groep 35">
            <a:extLst>
              <a:ext uri="{FF2B5EF4-FFF2-40B4-BE49-F238E27FC236}">
                <a16:creationId xmlns:a16="http://schemas.microsoft.com/office/drawing/2014/main" id="{959C9E17-342B-F574-B0DC-9FD2A284381E}"/>
              </a:ext>
            </a:extLst>
          </p:cNvPr>
          <p:cNvGrpSpPr/>
          <p:nvPr userDrawn="1"/>
        </p:nvGrpSpPr>
        <p:grpSpPr>
          <a:xfrm>
            <a:off x="650788" y="2591802"/>
            <a:ext cx="6341974" cy="2808873"/>
            <a:chOff x="459315" y="2183948"/>
            <a:chExt cx="8150719" cy="3609970"/>
          </a:xfrm>
        </p:grpSpPr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119D0D04-15A3-3C43-FC15-D4D22B8F5E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840157" y="3672432"/>
              <a:ext cx="2363066" cy="732550"/>
            </a:xfrm>
            <a:prstGeom prst="rect">
              <a:avLst/>
            </a:prstGeom>
          </p:spPr>
        </p:pic>
        <p:pic>
          <p:nvPicPr>
            <p:cNvPr id="17" name="Afbeelding 16">
              <a:extLst>
                <a:ext uri="{FF2B5EF4-FFF2-40B4-BE49-F238E27FC236}">
                  <a16:creationId xmlns:a16="http://schemas.microsoft.com/office/drawing/2014/main" id="{C8D31E96-1E23-A4B3-1088-A29B7E4579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59315" y="4595018"/>
              <a:ext cx="1597303" cy="1198900"/>
            </a:xfrm>
            <a:prstGeom prst="rect">
              <a:avLst/>
            </a:prstGeom>
          </p:spPr>
        </p:pic>
        <p:pic>
          <p:nvPicPr>
            <p:cNvPr id="21" name="Afbeelding 20">
              <a:extLst>
                <a:ext uri="{FF2B5EF4-FFF2-40B4-BE49-F238E27FC236}">
                  <a16:creationId xmlns:a16="http://schemas.microsoft.com/office/drawing/2014/main" id="{67E576E3-0F2E-7D74-70F5-213CC8C7FC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361418" y="5043214"/>
              <a:ext cx="1762414" cy="376852"/>
            </a:xfrm>
            <a:prstGeom prst="rect">
              <a:avLst/>
            </a:prstGeom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48C9ABEB-CB08-BF0E-81F7-7A38AF2E01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3419" y="3696989"/>
              <a:ext cx="2310475" cy="586560"/>
            </a:xfrm>
            <a:prstGeom prst="rect">
              <a:avLst/>
            </a:prstGeom>
          </p:spPr>
        </p:pic>
        <p:pic>
          <p:nvPicPr>
            <p:cNvPr id="33" name="Afbeelding 32">
              <a:extLst>
                <a:ext uri="{FF2B5EF4-FFF2-40B4-BE49-F238E27FC236}">
                  <a16:creationId xmlns:a16="http://schemas.microsoft.com/office/drawing/2014/main" id="{C6707EC3-389F-6A0D-3AD9-1F854BFB91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575448" y="2295623"/>
              <a:ext cx="3034586" cy="1093104"/>
            </a:xfrm>
            <a:prstGeom prst="rect">
              <a:avLst/>
            </a:prstGeom>
          </p:spPr>
        </p:pic>
        <p:pic>
          <p:nvPicPr>
            <p:cNvPr id="35" name="Afbeelding 34">
              <a:extLst>
                <a:ext uri="{FF2B5EF4-FFF2-40B4-BE49-F238E27FC236}">
                  <a16:creationId xmlns:a16="http://schemas.microsoft.com/office/drawing/2014/main" id="{EF8D5A04-22FF-3521-226F-4CFB9F8F3D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3620053" y="3434533"/>
              <a:ext cx="1821840" cy="1093104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A37ACA62-9978-0643-E9C5-6F4CC3BB07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813808" y="2183948"/>
              <a:ext cx="3140649" cy="1153950"/>
            </a:xfrm>
            <a:prstGeom prst="rect">
              <a:avLst/>
            </a:prstGeom>
          </p:spPr>
        </p:pic>
      </p:grpSp>
      <p:pic>
        <p:nvPicPr>
          <p:cNvPr id="6" name="Afbeelding 5" descr="Afbeelding met Lettertype, Graphics, schermopname, tekst&#10;&#10;Automatisch gegenereerde beschrijving">
            <a:extLst>
              <a:ext uri="{FF2B5EF4-FFF2-40B4-BE49-F238E27FC236}">
                <a16:creationId xmlns:a16="http://schemas.microsoft.com/office/drawing/2014/main" id="{37779E28-8B5C-F43B-8237-D23D273B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20755" r="17531" b="49063"/>
          <a:stretch/>
        </p:blipFill>
        <p:spPr>
          <a:xfrm>
            <a:off x="909100" y="2449468"/>
            <a:ext cx="1221691" cy="979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010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piresessions dia 2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902F59E8-8AAD-4805-88FE-F7E25B09F8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2677" y="-621862"/>
            <a:ext cx="10752094" cy="6311011"/>
          </a:xfrm>
          <a:prstGeom prst="rect">
            <a:avLst/>
          </a:prstGeom>
          <a:effectLst/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996984" y="4154625"/>
            <a:ext cx="2198030" cy="220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409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24F51C5-EAC4-469A-B6CC-69FF9155F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E14DB8D-4172-4A72-ADE5-EDE5CC524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53186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 </a:t>
            </a:r>
            <a:br>
              <a:rPr lang="en-GB"/>
            </a:br>
            <a:r>
              <a:rPr lang="en-GB"/>
              <a:t>[see slide for changing photo]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72B8E8-8BAD-4907-9ED9-92585C6B55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732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3">
    <p:bg>
      <p:bgPr>
        <a:gradFill>
          <a:gsLst>
            <a:gs pos="100000">
              <a:srgbClr val="6559A2"/>
            </a:gs>
            <a:gs pos="15000">
              <a:srgbClr val="E9455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57727272-4EE5-4F3A-8E1E-A4834CF30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1592747-95E8-4E0C-A675-88BE6AAA5F33}"/>
              </a:ext>
            </a:extLst>
          </p:cNvPr>
          <p:cNvSpPr/>
          <p:nvPr userDrawn="1"/>
        </p:nvSpPr>
        <p:spPr>
          <a:xfrm>
            <a:off x="0" y="0"/>
            <a:ext cx="412152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100000"/>
                </a:schemeClr>
              </a:gs>
              <a:gs pos="100000">
                <a:schemeClr val="accent1">
                  <a:lumMod val="85000"/>
                  <a:lumOff val="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82D130F-1287-4DBE-924E-7EC205CFE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79" b="12474"/>
          <a:stretch/>
        </p:blipFill>
        <p:spPr>
          <a:xfrm>
            <a:off x="-1" y="1338041"/>
            <a:ext cx="11077141" cy="55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5945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A80E125-E52B-44EF-B277-4D2DDF2021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25975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ic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FB42573-D0D4-485C-BF1E-B060E93FA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BC394-1A48-47C9-A9B0-4F3C4CDEADBE}" type="datetime3">
              <a:rPr lang="en-GB" smtClean="0"/>
              <a:t>21 September, 2023</a:t>
            </a:fld>
            <a:endParaRPr lang="en-GB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EBD52E7-FFEA-4D1F-B3C7-469D0C4AD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1D2FBD8-E908-4E7B-B587-8272D1376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Oval 10">
            <a:extLst>
              <a:ext uri="{FF2B5EF4-FFF2-40B4-BE49-F238E27FC236}">
                <a16:creationId xmlns:a16="http://schemas.microsoft.com/office/drawing/2014/main" id="{7BC5AC41-113C-46A3-95BE-A034B2E33BAC}"/>
              </a:ext>
            </a:extLst>
          </p:cNvPr>
          <p:cNvSpPr/>
          <p:nvPr userDrawn="1"/>
        </p:nvSpPr>
        <p:spPr>
          <a:xfrm>
            <a:off x="6589574" y="2275302"/>
            <a:ext cx="2678870" cy="26788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0" dist="317500" dir="5400000" sx="94000" sy="94000" algn="ctr" rotWithShape="0">
              <a:schemeClr val="accent1">
                <a:lumMod val="75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EA4A11A8-25B4-415B-B036-B092BCB2D5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379" y="3002941"/>
            <a:ext cx="5578009" cy="778132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50EC3743-3A1E-4695-ACF4-A1E38F3E5C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185736" y="2900038"/>
            <a:ext cx="1486546" cy="14865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6F4F14-3BA0-480F-97B8-C7188F051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8379" y="1524000"/>
            <a:ext cx="5511195" cy="1263413"/>
          </a:xfrm>
        </p:spPr>
        <p:txBody>
          <a:bodyPr anchor="b"/>
          <a:lstStyle>
            <a:lvl1pPr>
              <a:defRPr sz="4600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 sz="4600" spc="-110"/>
              <a:t>Embrace</a:t>
            </a:r>
            <a:br>
              <a:rPr lang="en-GB" sz="4600" spc="-110"/>
            </a:br>
            <a:r>
              <a:rPr lang="en-GB" sz="4600" spc="-110">
                <a:latin typeface="IBM Plex Sans Medium" panose="020B0603050203000203" pitchFamily="34" charset="0"/>
              </a:rPr>
              <a:t>Sustainable Change</a:t>
            </a:r>
            <a:endParaRPr lang="en-US" sz="4600" spc="-110">
              <a:latin typeface="IBM Plex Sans Medium" panose="020B0603050203000203" pitchFamily="34" charset="0"/>
              <a:ea typeface="Tahoma" pitchFamily="34" charset="0"/>
              <a:cs typeface="Calibri" panose="020F0502020204030204" pitchFamily="34" charset="0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C08331B-F2E4-418E-B557-D90599E4BDD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78379" y="3429000"/>
            <a:ext cx="4255621" cy="2667000"/>
          </a:xfrm>
        </p:spPr>
        <p:txBody>
          <a:bodyPr/>
          <a:lstStyle>
            <a:lvl1pPr>
              <a:buClrTx/>
              <a:defRPr sz="1400"/>
            </a:lvl1pPr>
            <a:lvl2pPr>
              <a:buClrTx/>
              <a:defRPr sz="1400"/>
            </a:lvl2pPr>
            <a:lvl3pPr>
              <a:buClrTx/>
              <a:defRPr sz="1400"/>
            </a:lvl3pPr>
            <a:lvl4pPr>
              <a:buClrTx/>
              <a:defRPr sz="1400"/>
            </a:lvl4pPr>
            <a:lvl5pPr>
              <a:buClrTx/>
              <a:defRPr sz="14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361778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0" y="1523746"/>
            <a:ext cx="10668000" cy="1274451"/>
          </a:xfrm>
        </p:spPr>
        <p:txBody>
          <a:bodyPr wrap="square" anchor="b">
            <a:noAutofit/>
          </a:bodyPr>
          <a:lstStyle>
            <a:lvl1pPr algn="l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2000" y="2971235"/>
            <a:ext cx="10668000" cy="360227"/>
          </a:xfrm>
        </p:spPr>
        <p:txBody>
          <a:bodyPr wrap="square">
            <a:noAutofit/>
          </a:bodyPr>
          <a:lstStyle>
            <a:lvl1pPr marL="0" indent="0" algn="l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66092E-BEFC-47D7-8315-F0505E7782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63774" y="6137100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3731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-2" y="0"/>
            <a:ext cx="609600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CBDF8113-F577-43FD-8721-35FCD96E37DB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C666F2-AAF4-494F-A413-F76A5D817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2F97402-08A6-4A96-8455-18D3FD18D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306A7810-AA0A-4575-89EF-B85F78A0D5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8783C995-2D98-48F7-95E2-C85569E3B3C2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07074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58000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58000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CBDF8113-F577-43FD-8721-35FCD96E37DB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C666F2-AAF4-494F-A413-F76A5D817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2F97402-08A6-4A96-8455-18D3FD18D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46A317BA-7153-45FF-BE0D-F479B02D15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A5330715-2FF8-4AA2-BFC4-985D6CBF938F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2411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3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17375A4-B71D-4F0C-94AC-535B1A2D8042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600CF2E3-9FF8-431C-B107-5D8A94CEF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475F54D7-E9B6-41CC-90AB-26BFE3A61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741B96C4-8858-44A7-BB12-58C1744A527B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dato 4">
            <a:extLst>
              <a:ext uri="{FF2B5EF4-FFF2-40B4-BE49-F238E27FC236}">
                <a16:creationId xmlns:a16="http://schemas.microsoft.com/office/drawing/2014/main" id="{A8914A1B-8E1F-41AA-8AA7-08173FC7F4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023658A5-AE09-4E23-A54D-FF5325A92588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27760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bg>
      <p:bgPr>
        <a:blipFill dpi="0" rotWithShape="1">
          <a:blip r:embed="rId2" cstate="email">
            <a:alphaModFix amt="6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-1" y="0"/>
            <a:ext cx="6096002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8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10"/>
            <a:ext cx="4854580" cy="45664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19F2AC3-E4AE-4CBC-A0B0-77DCD82013F3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6B9625D7-6D66-4DFF-B613-902393F68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37A84213-F93D-4029-B406-34189CD14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061B46BF-6AF7-4D51-8AC9-EEBBED7C50CE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Pladsholder til dato 4">
            <a:extLst>
              <a:ext uri="{FF2B5EF4-FFF2-40B4-BE49-F238E27FC236}">
                <a16:creationId xmlns:a16="http://schemas.microsoft.com/office/drawing/2014/main" id="{1D8813C6-2997-416E-8714-3CE6B88000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6EC75E26-3C64-4CFE-B364-E66409F04948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40656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blipFill dpi="0" rotWithShape="1">
          <a:blip r:embed="rId2" cstate="screen">
            <a:alphaModFix amt="5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C2DF73B-736D-43F2-B3E5-83A81065C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868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9ACE650-F00A-42C5-880B-60A3F80565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6043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4">
    <p:bg>
      <p:bgPr>
        <a:gradFill>
          <a:gsLst>
            <a:gs pos="100000">
              <a:srgbClr val="2FC0B2"/>
            </a:gs>
            <a:gs pos="15000">
              <a:srgbClr val="6559A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SECURITY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48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-1" y="0"/>
            <a:ext cx="6096002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8800" y="730800"/>
            <a:ext cx="4838702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5300" y="1524000"/>
            <a:ext cx="4838705" cy="4566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3CB6266-A190-4475-93D0-24E1A0529820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3A92CC3-986B-4719-AC8D-922D4F903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6B3D7EC-FFA5-4591-AE3A-48E4B3A48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78C1FAAD-76B9-4893-8F8B-56605F6086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5DE35392-1B94-4D89-B446-9BC7C15DE9D9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20735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33FB9FA-69FC-43C5-ABC0-FAE088390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FF85A3C-552D-4822-925B-32670307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7EE35F-EF45-491D-AB82-205CB98CF534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4CF1BEFB-1EAD-4428-B2C4-50289E264C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4B43B607-DB3D-4231-9A36-7F36F0A7E2ED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1701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0" y="1523991"/>
            <a:ext cx="4854573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9FC5DCC0-187B-438A-8675-224B04D89B11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26562C98-559A-42DD-B5C4-97FC17613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0B5309A0-B7D8-4C02-96F7-436A61CC3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62EF538-62B7-4B76-9801-503DFE344439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Pladsholder til dato 4">
            <a:extLst>
              <a:ext uri="{FF2B5EF4-FFF2-40B4-BE49-F238E27FC236}">
                <a16:creationId xmlns:a16="http://schemas.microsoft.com/office/drawing/2014/main" id="{842A5222-8C0D-4904-9D7F-450B9DE889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E24A24E5-E9DE-4967-B2C0-8F5D958C0062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8113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/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83147A-93E9-403F-B036-660D086F0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6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148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/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9CA154C-3DB9-4121-8081-065CB2AEFB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6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5981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8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0B6B877-AAF3-48AB-8CDF-F6C22E9636E5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8311723-0F9C-4E94-B82A-509F3A24A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2FF5C55-B6E6-492E-B71E-8DDF3F172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DFF7C755-44E8-4110-960E-69D74EA1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03B57C0D-702E-4C18-B0C7-76C12A4AD50F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3644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CA1FC752-AE8A-475E-965B-ADE0BFE8D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FC0F786D-2630-4D55-BA6C-68478FA41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13DE77-EF7D-4B51-AB78-B793AB4815F0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2DF52C79-DA53-4F12-A6DA-DE4F69AAC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D89130DF-26DB-4E56-AAC0-386D17C1297C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66619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mparison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4F14-3BA0-480F-97B8-C7188F051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9209"/>
            <a:ext cx="5616576" cy="441923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C08331B-F2E4-418E-B557-D90599E4BDD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524000"/>
            <a:ext cx="4854575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460F123-0456-4FED-94DC-E3C4876EB3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58000" y="1524000"/>
            <a:ext cx="4854574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FB42573-D0D4-485C-BF1E-B060E93FA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D04D4-1CA4-44E8-A952-146A4F58B782}" type="datetime3">
              <a:rPr lang="en-GB" smtClean="0"/>
              <a:t>21 September, 2023</a:t>
            </a:fld>
            <a:endParaRPr lang="en-GB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EBD52E7-FFEA-4D1F-B3C7-469D0C4AD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1D2FBD8-E908-4E7B-B587-8272D1376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FA47419-3E24-4D71-B457-CF439040580C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19886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 marL="511175" indent="-166688"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6798FB4E-655A-440C-A664-C46375774363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ladsholder til sidefod 13">
            <a:extLst>
              <a:ext uri="{FF2B5EF4-FFF2-40B4-BE49-F238E27FC236}">
                <a16:creationId xmlns:a16="http://schemas.microsoft.com/office/drawing/2014/main" id="{7915CFC8-10A3-40C0-AF71-72C002F02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CF3266DB-3F1B-4013-9955-21F0CE18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550E7BF-480E-4039-BA1A-82F16178C31A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ladsholder til dato 4">
            <a:extLst>
              <a:ext uri="{FF2B5EF4-FFF2-40B4-BE49-F238E27FC236}">
                <a16:creationId xmlns:a16="http://schemas.microsoft.com/office/drawing/2014/main" id="{4291EF18-EE28-40C1-B71D-F92E622C65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77DB9A54-5F24-47DB-B87C-282434A314E7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293124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_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26AAC8-DA52-4CF1-9151-8ECFFB1AC7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21200"/>
            <a:ext cx="11233148" cy="428400"/>
          </a:xfrm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7" y="846000"/>
            <a:ext cx="4572000" cy="333374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846000"/>
            <a:ext cx="4854572" cy="333374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7ABEB36B-755A-47BC-82BE-BC99085377A2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79D55309-FA6F-4EF6-94E1-E3D09B0E0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90000"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DD275954-4D6F-4C61-87CA-2A451DE6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E8C377F4-7CCE-4F59-84E4-E88E1891F857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ladsholder til dato 4">
            <a:extLst>
              <a:ext uri="{FF2B5EF4-FFF2-40B4-BE49-F238E27FC236}">
                <a16:creationId xmlns:a16="http://schemas.microsoft.com/office/drawing/2014/main" id="{5FB3F0B9-822D-400C-BA4B-CCA6FE913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870FE5E0-97CB-4458-AD29-7EB152746F09}" type="datetime3">
              <a:rPr lang="en-GB" smtClean="0"/>
              <a:t>21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5729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5">
    <p:bg>
      <p:bgPr>
        <a:gradFill>
          <a:gsLst>
            <a:gs pos="99000">
              <a:srgbClr val="05419B"/>
            </a:gs>
            <a:gs pos="14000">
              <a:srgbClr val="2FC0B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09" y="2518623"/>
            <a:ext cx="3298015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807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26AAC8-DA52-4CF1-9151-8ECFFB1AC7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3524"/>
            <a:ext cx="11233148" cy="221599"/>
          </a:xfrm>
        </p:spPr>
        <p:txBody>
          <a:bodyPr wrap="square" anchor="t">
            <a:spAutoFit/>
          </a:bodyPr>
          <a:lstStyle>
            <a:lvl1pPr>
              <a:defRPr sz="1600"/>
            </a:lvl1pPr>
          </a:lstStyle>
          <a:p>
            <a:r>
              <a:rPr lang="en-GB"/>
              <a:t>[report slide] Click to edit Master title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400169"/>
            <a:ext cx="4854573" cy="201456"/>
          </a:xfrm>
        </p:spPr>
        <p:txBody>
          <a:bodyPr anchor="t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4" y="801862"/>
            <a:ext cx="5436576" cy="5294137"/>
          </a:xfrm>
        </p:spPr>
        <p:txBody>
          <a:bodyPr numCol="2" spcCol="180000"/>
          <a:lstStyle>
            <a:lvl1pPr marL="85725" indent="-85725">
              <a:lnSpc>
                <a:spcPts val="1200"/>
              </a:lnSpc>
              <a:spcBef>
                <a:spcPts val="0"/>
              </a:spcBef>
              <a:defRPr sz="900"/>
            </a:lvl1pPr>
            <a:lvl2pPr marL="180975" indent="-95250">
              <a:lnSpc>
                <a:spcPts val="1200"/>
              </a:lnSpc>
              <a:spcBef>
                <a:spcPts val="0"/>
              </a:spcBef>
              <a:defRPr sz="900"/>
            </a:lvl2pPr>
            <a:lvl3pPr marL="266700" indent="-85725">
              <a:lnSpc>
                <a:spcPts val="1200"/>
              </a:lnSpc>
              <a:spcBef>
                <a:spcPts val="0"/>
              </a:spcBef>
              <a:defRPr sz="900"/>
            </a:lvl3pPr>
            <a:lvl4pPr marL="266700" indent="-85725">
              <a:lnSpc>
                <a:spcPts val="1200"/>
              </a:lnSpc>
              <a:spcBef>
                <a:spcPts val="0"/>
              </a:spcBef>
              <a:defRPr sz="900"/>
            </a:lvl4pPr>
            <a:lvl5pPr marL="266700" indent="-85725">
              <a:lnSpc>
                <a:spcPts val="12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801190"/>
            <a:ext cx="5436575" cy="5294811"/>
          </a:xfrm>
        </p:spPr>
        <p:txBody>
          <a:bodyPr numCol="2" spcCol="180000"/>
          <a:lstStyle>
            <a:lvl1pPr marL="85725" indent="-85725">
              <a:lnSpc>
                <a:spcPts val="1200"/>
              </a:lnSpc>
              <a:spcBef>
                <a:spcPts val="0"/>
              </a:spcBef>
              <a:defRPr sz="900"/>
            </a:lvl1pPr>
            <a:lvl2pPr marL="180975" indent="-95250">
              <a:lnSpc>
                <a:spcPts val="1200"/>
              </a:lnSpc>
              <a:spcBef>
                <a:spcPts val="0"/>
              </a:spcBef>
              <a:defRPr sz="900"/>
            </a:lvl2pPr>
            <a:lvl3pPr marL="266700" indent="-85725">
              <a:lnSpc>
                <a:spcPts val="1200"/>
              </a:lnSpc>
              <a:spcBef>
                <a:spcPts val="0"/>
              </a:spcBef>
              <a:defRPr sz="900"/>
            </a:lvl3pPr>
            <a:lvl4pPr marL="266700" indent="-85725">
              <a:lnSpc>
                <a:spcPts val="1200"/>
              </a:lnSpc>
              <a:spcBef>
                <a:spcPts val="0"/>
              </a:spcBef>
              <a:defRPr sz="900"/>
            </a:lvl4pPr>
            <a:lvl5pPr marL="266700" indent="-85725">
              <a:lnSpc>
                <a:spcPts val="12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478E48B-0701-47EE-A005-110273EBE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F6DC-EF6A-4D3E-B8A6-E111811768FB}" type="datetime3">
              <a:rPr lang="en-GB" smtClean="0"/>
              <a:t>21 September, 2023</a:t>
            </a:fld>
            <a:endParaRPr lang="en-GB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381EBA9-0FC3-4340-A6C9-1E6FEE9B6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1A2570B-A601-4798-BAF2-577A63D3E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nr.›</a:t>
            </a:fld>
            <a:endParaRPr lang="en-GB"/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443F4EBF-E243-41CB-9483-74AE10E74D60}"/>
              </a:ext>
            </a:extLst>
          </p:cNvPr>
          <p:cNvSpPr/>
          <p:nvPr userDrawn="1"/>
        </p:nvSpPr>
        <p:spPr>
          <a:xfrm>
            <a:off x="479424" y="622677"/>
            <a:ext cx="889348" cy="45719"/>
          </a:xfrm>
          <a:prstGeom prst="rect">
            <a:avLst/>
          </a:prstGeom>
          <a:solidFill>
            <a:srgbClr val="248D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12640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24F51C5-EAC4-469A-B6CC-69FF9155F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E14DB8D-4172-4A72-ADE5-EDE5CC524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73626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_full pictu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7130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_full picture_log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5BC1584-4BC1-4B22-B452-AAEB51B0DE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18139" y="5823088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8250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_full picture_swir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grpSp>
        <p:nvGrpSpPr>
          <p:cNvPr id="8" name="Grafik 6">
            <a:extLst>
              <a:ext uri="{FF2B5EF4-FFF2-40B4-BE49-F238E27FC236}">
                <a16:creationId xmlns:a16="http://schemas.microsoft.com/office/drawing/2014/main" id="{891C0814-5D4E-4DD7-AD41-2C934895A196}"/>
              </a:ext>
            </a:extLst>
          </p:cNvPr>
          <p:cNvGrpSpPr/>
          <p:nvPr/>
        </p:nvGrpSpPr>
        <p:grpSpPr>
          <a:xfrm>
            <a:off x="2659125" y="2154551"/>
            <a:ext cx="10820993" cy="5169784"/>
            <a:chOff x="4275441" y="346336"/>
            <a:chExt cx="3755699" cy="1794304"/>
          </a:xfrm>
          <a:solidFill>
            <a:srgbClr val="FFFFFF">
              <a:alpha val="10000"/>
            </a:srgbClr>
          </a:solidFill>
        </p:grpSpPr>
        <p:sp>
          <p:nvSpPr>
            <p:cNvPr id="10" name="Kombinationstegning: figur 9">
              <a:extLst>
                <a:ext uri="{FF2B5EF4-FFF2-40B4-BE49-F238E27FC236}">
                  <a16:creationId xmlns:a16="http://schemas.microsoft.com/office/drawing/2014/main" id="{1FB52802-BC86-4C05-8075-17319DAAB9F9}"/>
                </a:ext>
              </a:extLst>
            </p:cNvPr>
            <p:cNvSpPr/>
            <p:nvPr/>
          </p:nvSpPr>
          <p:spPr>
            <a:xfrm>
              <a:off x="4275441" y="346336"/>
              <a:ext cx="3755699" cy="1681904"/>
            </a:xfrm>
            <a:custGeom>
              <a:avLst/>
              <a:gdLst>
                <a:gd name="connsiteX0" fmla="*/ 83579 w 3755699"/>
                <a:gd name="connsiteY0" fmla="*/ 954158 h 1681904"/>
                <a:gd name="connsiteX1" fmla="*/ 1337159 w 3755699"/>
                <a:gd name="connsiteY1" fmla="*/ 1681905 h 1681904"/>
                <a:gd name="connsiteX2" fmla="*/ 1252452 w 3755699"/>
                <a:gd name="connsiteY2" fmla="*/ 1609089 h 1681904"/>
                <a:gd name="connsiteX3" fmla="*/ 517294 w 3755699"/>
                <a:gd name="connsiteY3" fmla="*/ 1162586 h 1681904"/>
                <a:gd name="connsiteX4" fmla="*/ 1550637 w 3755699"/>
                <a:gd name="connsiteY4" fmla="*/ 451456 h 1681904"/>
                <a:gd name="connsiteX5" fmla="*/ 3505656 w 3755699"/>
                <a:gd name="connsiteY5" fmla="*/ 1073237 h 1681904"/>
                <a:gd name="connsiteX6" fmla="*/ 3319300 w 3755699"/>
                <a:gd name="connsiteY6" fmla="*/ 1602492 h 1681904"/>
                <a:gd name="connsiteX7" fmla="*/ 3309200 w 3755699"/>
                <a:gd name="connsiteY7" fmla="*/ 1642158 h 1681904"/>
                <a:gd name="connsiteX8" fmla="*/ 3671648 w 3755699"/>
                <a:gd name="connsiteY8" fmla="*/ 854954 h 1681904"/>
                <a:gd name="connsiteX9" fmla="*/ 1320299 w 3755699"/>
                <a:gd name="connsiteY9" fmla="*/ 1613 h 1681904"/>
                <a:gd name="connsiteX10" fmla="*/ 83579 w 3755699"/>
                <a:gd name="connsiteY10" fmla="*/ 954158 h 168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5699" h="1681904">
                  <a:moveTo>
                    <a:pt x="83579" y="954158"/>
                  </a:moveTo>
                  <a:cubicBezTo>
                    <a:pt x="276694" y="1265131"/>
                    <a:pt x="757813" y="1533016"/>
                    <a:pt x="1337159" y="1681905"/>
                  </a:cubicBezTo>
                  <a:cubicBezTo>
                    <a:pt x="1303276" y="1658773"/>
                    <a:pt x="1276154" y="1635642"/>
                    <a:pt x="1252452" y="1609089"/>
                  </a:cubicBezTo>
                  <a:cubicBezTo>
                    <a:pt x="910285" y="1496690"/>
                    <a:pt x="642644" y="1341204"/>
                    <a:pt x="517294" y="1162586"/>
                  </a:cubicBezTo>
                  <a:cubicBezTo>
                    <a:pt x="266513" y="795496"/>
                    <a:pt x="730690" y="477927"/>
                    <a:pt x="1550637" y="451456"/>
                  </a:cubicBezTo>
                  <a:cubicBezTo>
                    <a:pt x="2373923" y="428324"/>
                    <a:pt x="3251453" y="706146"/>
                    <a:pt x="3505656" y="1073237"/>
                  </a:cubicBezTo>
                  <a:cubicBezTo>
                    <a:pt x="3644526" y="1278325"/>
                    <a:pt x="3563240" y="1470138"/>
                    <a:pt x="3319300" y="1602492"/>
                  </a:cubicBezTo>
                  <a:lnTo>
                    <a:pt x="3309200" y="1642158"/>
                  </a:lnTo>
                  <a:cubicBezTo>
                    <a:pt x="3709033" y="1466879"/>
                    <a:pt x="3868185" y="1175781"/>
                    <a:pt x="3671648" y="854954"/>
                  </a:cubicBezTo>
                  <a:cubicBezTo>
                    <a:pt x="3363364" y="358848"/>
                    <a:pt x="2309659" y="-28197"/>
                    <a:pt x="1320299" y="1613"/>
                  </a:cubicBezTo>
                  <a:cubicBezTo>
                    <a:pt x="334278" y="28084"/>
                    <a:pt x="-221285" y="458053"/>
                    <a:pt x="83579" y="954158"/>
                  </a:cubicBezTo>
                  <a:close/>
                </a:path>
              </a:pathLst>
            </a:custGeom>
            <a:grpFill/>
            <a:ln w="81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ADE869D7-1B1D-4A87-8406-A43A83D22D37}"/>
                </a:ext>
              </a:extLst>
            </p:cNvPr>
            <p:cNvSpPr/>
            <p:nvPr/>
          </p:nvSpPr>
          <p:spPr>
            <a:xfrm>
              <a:off x="5758793" y="1375001"/>
              <a:ext cx="1698563" cy="765639"/>
            </a:xfrm>
            <a:custGeom>
              <a:avLst/>
              <a:gdLst>
                <a:gd name="connsiteX0" fmla="*/ 40243 w 1698563"/>
                <a:gd name="connsiteY0" fmla="*/ 444812 h 765639"/>
                <a:gd name="connsiteX1" fmla="*/ 636531 w 1698563"/>
                <a:gd name="connsiteY1" fmla="*/ 765639 h 765639"/>
                <a:gd name="connsiteX2" fmla="*/ 629771 w 1698563"/>
                <a:gd name="connsiteY2" fmla="*/ 745847 h 765639"/>
                <a:gd name="connsiteX3" fmla="*/ 240038 w 1698563"/>
                <a:gd name="connsiteY3" fmla="*/ 534162 h 765639"/>
                <a:gd name="connsiteX4" fmla="*/ 697455 w 1698563"/>
                <a:gd name="connsiteY4" fmla="*/ 203397 h 765639"/>
                <a:gd name="connsiteX5" fmla="*/ 1585085 w 1698563"/>
                <a:gd name="connsiteY5" fmla="*/ 464686 h 765639"/>
                <a:gd name="connsiteX6" fmla="*/ 1459817 w 1698563"/>
                <a:gd name="connsiteY6" fmla="*/ 726055 h 765639"/>
                <a:gd name="connsiteX7" fmla="*/ 1459817 w 1698563"/>
                <a:gd name="connsiteY7" fmla="*/ 739250 h 765639"/>
                <a:gd name="connsiteX8" fmla="*/ 1656272 w 1698563"/>
                <a:gd name="connsiteY8" fmla="*/ 365481 h 765639"/>
                <a:gd name="connsiteX9" fmla="*/ 588965 w 1698563"/>
                <a:gd name="connsiteY9" fmla="*/ 1648 h 765639"/>
                <a:gd name="connsiteX10" fmla="*/ 40243 w 1698563"/>
                <a:gd name="connsiteY10" fmla="*/ 444812 h 76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8563" h="765639">
                  <a:moveTo>
                    <a:pt x="40243" y="444812"/>
                  </a:moveTo>
                  <a:cubicBezTo>
                    <a:pt x="135050" y="587022"/>
                    <a:pt x="365469" y="706100"/>
                    <a:pt x="636531" y="765639"/>
                  </a:cubicBezTo>
                  <a:cubicBezTo>
                    <a:pt x="633110" y="759042"/>
                    <a:pt x="629771" y="752445"/>
                    <a:pt x="629771" y="745847"/>
                  </a:cubicBezTo>
                  <a:cubicBezTo>
                    <a:pt x="450176" y="699584"/>
                    <a:pt x="304545" y="623430"/>
                    <a:pt x="240038" y="534162"/>
                  </a:cubicBezTo>
                  <a:cubicBezTo>
                    <a:pt x="121448" y="372078"/>
                    <a:pt x="328165" y="223271"/>
                    <a:pt x="697455" y="203397"/>
                  </a:cubicBezTo>
                  <a:cubicBezTo>
                    <a:pt x="1066744" y="183524"/>
                    <a:pt x="1466495" y="302602"/>
                    <a:pt x="1585085" y="464686"/>
                  </a:cubicBezTo>
                  <a:cubicBezTo>
                    <a:pt x="1659611" y="567230"/>
                    <a:pt x="1602108" y="663177"/>
                    <a:pt x="1459817" y="726055"/>
                  </a:cubicBezTo>
                  <a:lnTo>
                    <a:pt x="1459817" y="739250"/>
                  </a:lnTo>
                  <a:cubicBezTo>
                    <a:pt x="1669873" y="659837"/>
                    <a:pt x="1758001" y="517627"/>
                    <a:pt x="1656272" y="365481"/>
                  </a:cubicBezTo>
                  <a:cubicBezTo>
                    <a:pt x="1513980" y="143858"/>
                    <a:pt x="1032861" y="-18225"/>
                    <a:pt x="588965" y="1648"/>
                  </a:cubicBezTo>
                  <a:cubicBezTo>
                    <a:pt x="145231" y="24780"/>
                    <a:pt x="-102048" y="223190"/>
                    <a:pt x="40243" y="444812"/>
                  </a:cubicBezTo>
                  <a:close/>
                </a:path>
              </a:pathLst>
            </a:custGeom>
            <a:grpFill/>
            <a:ln w="81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591059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Title, subtitles, content, 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E2FA-B39E-4B83-B807-7E5A3187D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63F85B0-DF32-4E48-A4A3-A443F7678D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524001"/>
            <a:ext cx="10668000" cy="4572000"/>
          </a:xfrm>
        </p:spPr>
        <p:txBody>
          <a:bodyPr/>
          <a:lstStyle>
            <a:lvl1pPr>
              <a:defRPr sz="1600"/>
            </a:lvl1pPr>
            <a:lvl2pPr>
              <a:defRPr sz="1401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D50556F-11A9-40AD-82A2-00B22C3A00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A4D7594-905B-4CA9-BE6B-80C12F9D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F54C527-0984-48E6-8C32-393FB98A5E1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911266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15803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, conscia background, conscia logo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5831C6-EE14-42BB-B936-F4F8A8A1B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25831C6-EE14-42BB-B936-F4F8A8A1B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3335844B-C9F7-4974-B8C4-5CCC96AA9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F97AC192-8D1D-4D0A-BCC3-345B5230ADE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4927480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53A9E4-6803-45E0-B338-AED9682A9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D33BD2E7-BA80-42AA-93A3-4694C013E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onscia Nederland </a:t>
            </a:r>
            <a:r>
              <a:rPr lang="en-GB" err="1"/>
              <a:t>tbv</a:t>
            </a:r>
            <a:r>
              <a:rPr lang="en-GB"/>
              <a:t> Thales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9E05E696-519C-49C6-8875-F482F2785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29D9A73F-A072-4219-83CD-1AB9870513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710098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0ACC121-E8FB-C740-981E-C5DF9C552445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Title 11">
            <a:extLst>
              <a:ext uri="{FF2B5EF4-FFF2-40B4-BE49-F238E27FC236}">
                <a16:creationId xmlns:a16="http://schemas.microsoft.com/office/drawing/2014/main" id="{A94D4060-1E56-524A-826A-61201A309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40615"/>
            <a:ext cx="10515600" cy="6671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Table of content.</a:t>
            </a:r>
            <a:endParaRPr lang="en-NL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9E71AC-5E51-6F46-BF53-6AEC8ADBDD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1992086"/>
            <a:ext cx="4735286" cy="4332514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NL"/>
              <a:t>Example</a:t>
            </a:r>
          </a:p>
          <a:p>
            <a:pPr lvl="0"/>
            <a:r>
              <a:rPr lang="en-NL"/>
              <a:t>Example</a:t>
            </a:r>
          </a:p>
          <a:p>
            <a:pPr lvl="0"/>
            <a:r>
              <a:rPr lang="en-NL"/>
              <a:t>Example	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5CC95-A43A-B6AC-4CCD-F41702183E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3076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552450" y="-1112281"/>
            <a:ext cx="12896850" cy="8060531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59690" y="1198879"/>
            <a:ext cx="2798931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108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E1CC603-FF5A-CC47-A2D0-166D986576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F8F315FC-18C9-024B-BE97-F5859A022D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18" y="1168224"/>
            <a:ext cx="9609758" cy="5405489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AD68439-9D11-DA4B-8BD1-600CB001583F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5472AD16-CE1E-1949-B38C-736CBD917F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36445"/>
            <a:ext cx="10515600" cy="4585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Portfolio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12701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n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E1CC603-FF5A-CC47-A2D0-166D986576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9377313-53F8-B44E-B011-4080735463A5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02E272E7-4D62-1149-B5C7-3030FA7EE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36445"/>
            <a:ext cx="10515600" cy="4585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Partners</a:t>
            </a:r>
            <a:endParaRPr lang="en-NL"/>
          </a:p>
        </p:txBody>
      </p:sp>
      <p:pic>
        <p:nvPicPr>
          <p:cNvPr id="9" name="Picture 8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A2AB86B-9C09-2E4D-882E-D594ABA5AA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77" y="563634"/>
            <a:ext cx="10787743" cy="606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60359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C398545D-8564-FC46-B348-A907C06EAE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14317" y="4878542"/>
            <a:ext cx="2277683" cy="227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52818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, blank, consci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E2FA-B39E-4B83-B807-7E5A3187D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D50556F-11A9-40AD-82A2-00B22C3A00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A4D7594-905B-4CA9-BE6B-80C12F9D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F54C527-0984-48E6-8C32-393FB98A5E1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40496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fbeeldi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365125"/>
            <a:ext cx="10945336" cy="57816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1-0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7985359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122FE9F-B268-B811-D88E-E0CAEA3971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50574" y="6492875"/>
            <a:ext cx="8280000" cy="3651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onscia presentation</a:t>
            </a:r>
            <a:endParaRPr lang="en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FE8C0B6-BE0F-218C-D898-1177EF8DA4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040813" y="649287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DEB7D00-7286-4D43-BC6B-85F887656985}" type="slidenum">
              <a:rPr lang="en-DK" smtClean="0"/>
              <a:pPr/>
              <a:t>‹nr.›</a:t>
            </a:fld>
            <a:endParaRPr lang="en-DK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A7E38C6-261E-A4E1-CC27-565758FF82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1103076" y="223505"/>
            <a:ext cx="666560" cy="277327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3527840-3F40-437B-3969-D49A0CB4CB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574" y="441325"/>
            <a:ext cx="10522226" cy="10429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0" i="0">
                <a:latin typeface="+mj-lt"/>
              </a:defRPr>
            </a:lvl1pPr>
          </a:lstStyle>
          <a:p>
            <a:r>
              <a:rPr lang="en-GB"/>
              <a:t>Click to edit master title</a:t>
            </a:r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684686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16510"/>
            <a:ext cx="12273280" cy="817451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5715" y="1198879"/>
            <a:ext cx="2266881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9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57" y="-1316510"/>
            <a:ext cx="12261765" cy="817451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80223" y="1198879"/>
            <a:ext cx="2757865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NETWORK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180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F0484A04-9253-46B6-520B-5D55833B9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191CBAE-F685-95F8-6F4C-0A77F3CC58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0CAEF6D-F6D5-E0E6-20F1-027F207AE7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17.01.2023</a:t>
            </a: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74CFB3E-F35C-291C-165F-DE7BDAA89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>
                <a:solidFill>
                  <a:srgbClr val="000000"/>
                </a:solidFill>
                <a:effectLst/>
                <a:latin typeface="IBM Plex Sans Light" panose="020B0403050203000203" pitchFamily="34" charset="0"/>
              </a:rPr>
              <a:t> 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Conscia</a:t>
            </a:r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 Nederland – 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Inspire</a:t>
            </a:r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 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Sessions</a:t>
            </a:r>
            <a:endParaRPr lang="nl-NL">
              <a:solidFill>
                <a:srgbClr val="AAD2F3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82DE66-9C3A-A5EF-6C6D-9361EA181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CE747-A75F-3546-82CA-253856803BA8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8681741-C092-3B10-350D-665176A86A7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944078" y="6599555"/>
            <a:ext cx="164782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800" err="1">
                <a:solidFill>
                  <a:srgbClr val="218BD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sitivity</a:t>
            </a:r>
            <a:r>
              <a:rPr lang="nl-NL" sz="800">
                <a:solidFill>
                  <a:srgbClr val="218BD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800" err="1">
                <a:solidFill>
                  <a:srgbClr val="218BD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</a:t>
            </a:r>
            <a:r>
              <a:rPr lang="nl-NL" sz="800">
                <a:solidFill>
                  <a:srgbClr val="218BD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nl-NL" sz="800" err="1">
                <a:solidFill>
                  <a:srgbClr val="218BD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Conscia</a:t>
            </a:r>
            <a:endParaRPr lang="nl-NL" sz="800">
              <a:solidFill>
                <a:srgbClr val="218BD7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19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72" r:id="rId3"/>
    <p:sldLayoutId id="2147483671" r:id="rId4"/>
    <p:sldLayoutId id="2147483676" r:id="rId5"/>
    <p:sldLayoutId id="2147483677" r:id="rId6"/>
    <p:sldLayoutId id="2147483666" r:id="rId7"/>
    <p:sldLayoutId id="2147483678" r:id="rId8"/>
    <p:sldLayoutId id="2147483679" r:id="rId9"/>
    <p:sldLayoutId id="2147483680" r:id="rId10"/>
    <p:sldLayoutId id="2147483673" r:id="rId11"/>
    <p:sldLayoutId id="2147483674" r:id="rId12"/>
    <p:sldLayoutId id="2147483675" r:id="rId13"/>
    <p:sldLayoutId id="2147483692" r:id="rId14"/>
    <p:sldLayoutId id="2147483650" r:id="rId15"/>
    <p:sldLayoutId id="2147483665" r:id="rId16"/>
    <p:sldLayoutId id="2147483667" r:id="rId17"/>
    <p:sldLayoutId id="2147483684" r:id="rId18"/>
    <p:sldLayoutId id="2147483685" r:id="rId19"/>
    <p:sldLayoutId id="2147483686" r:id="rId20"/>
    <p:sldLayoutId id="2147483681" r:id="rId21"/>
    <p:sldLayoutId id="2147483682" r:id="rId22"/>
    <p:sldLayoutId id="2147483683" r:id="rId23"/>
    <p:sldLayoutId id="2147483687" r:id="rId24"/>
    <p:sldLayoutId id="2147483688" r:id="rId25"/>
    <p:sldLayoutId id="2147483689" r:id="rId26"/>
    <p:sldLayoutId id="2147483657" r:id="rId27"/>
    <p:sldLayoutId id="2147483669" r:id="rId28"/>
    <p:sldLayoutId id="2147483668" r:id="rId29"/>
    <p:sldLayoutId id="2147483732" r:id="rId30"/>
    <p:sldLayoutId id="2147483733" r:id="rId31"/>
    <p:sldLayoutId id="2147483670" r:id="rId32"/>
    <p:sldLayoutId id="2147483652" r:id="rId33"/>
    <p:sldLayoutId id="2147483656" r:id="rId34"/>
    <p:sldLayoutId id="2147483690" r:id="rId35"/>
    <p:sldLayoutId id="2147483691" r:id="rId36"/>
    <p:sldLayoutId id="2147483662" r:id="rId37"/>
    <p:sldLayoutId id="2147483693" r:id="rId3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4D117F98-40AC-4B3C-AE5D-AC8258DEF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9209"/>
            <a:ext cx="11233150" cy="44192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A2E7EC7-23C3-453A-8CC2-1723FF6A7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524000"/>
            <a:ext cx="1123315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B478671-6BD5-48EA-82B1-061165BD9F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81689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9354A32D-2BB0-4873-9068-D567465CDFEC}" type="datetime3">
              <a:rPr lang="en-GB" smtClean="0"/>
              <a:t>21 September, 2023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34EA693-2300-4092-8B84-9C07FC468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5" y="6356352"/>
            <a:ext cx="6878128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FB9986F-E54D-41A7-A1ED-3B6B81BBB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000" y="6356352"/>
            <a:ext cx="60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F54C527-0984-48E6-8C32-393FB98A5E1A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6368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</p:sldLayoutIdLst>
  <p:hf hdr="0" dt="0"/>
  <p:txStyles>
    <p:titleStyle>
      <a:lvl1pPr algn="l" defTabSz="914422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692" indent="-166692" algn="l" defTabSz="914422" rtl="0" eaLnBrk="1" latinLnBrk="0" hangingPunct="1">
        <a:lnSpc>
          <a:spcPct val="90000"/>
        </a:lnSpc>
        <a:spcBef>
          <a:spcPts val="1001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44497" indent="-177805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2pPr>
      <a:lvl3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960">
          <p15:clr>
            <a:srgbClr val="F26B43"/>
          </p15:clr>
        </p15:guide>
        <p15:guide id="5" pos="3360">
          <p15:clr>
            <a:srgbClr val="F26B43"/>
          </p15:clr>
        </p15:guide>
        <p15:guide id="6" pos="4320">
          <p15:clr>
            <a:srgbClr val="F26B43"/>
          </p15:clr>
        </p15:guide>
        <p15:guide id="7" pos="6720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orient="horz" pos="960">
          <p15:clr>
            <a:srgbClr val="F26B43"/>
          </p15:clr>
        </p15:guide>
        <p15:guide id="11" orient="horz" pos="3360">
          <p15:clr>
            <a:srgbClr val="F26B43"/>
          </p15:clr>
        </p15:guide>
        <p15:guide id="12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3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5.xml"/><Relationship Id="rId4" Type="http://schemas.openxmlformats.org/officeDocument/2006/relationships/image" Target="../media/image9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9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76.png"/><Relationship Id="rId5" Type="http://schemas.openxmlformats.org/officeDocument/2006/relationships/image" Target="../media/image98.jpeg"/><Relationship Id="rId4" Type="http://schemas.openxmlformats.org/officeDocument/2006/relationships/image" Target="../media/image9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jpeg"/><Relationship Id="rId7" Type="http://schemas.openxmlformats.org/officeDocument/2006/relationships/image" Target="../media/image106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4.jpe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image" Target="../media/image1.png"/><Relationship Id="rId7" Type="http://schemas.openxmlformats.org/officeDocument/2006/relationships/image" Target="../media/image78.jpeg"/><Relationship Id="rId12" Type="http://schemas.openxmlformats.org/officeDocument/2006/relationships/image" Target="../media/image83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77.png"/><Relationship Id="rId11" Type="http://schemas.openxmlformats.org/officeDocument/2006/relationships/image" Target="../media/image82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2.png"/><Relationship Id="rId9" Type="http://schemas.openxmlformats.org/officeDocument/2006/relationships/image" Target="../media/image8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595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21FCFF-9B64-BFBF-15DE-EE10EC6B21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8000" err="1"/>
              <a:t>Technologie</a:t>
            </a:r>
            <a:r>
              <a:rPr lang="en-US" sz="8000"/>
              <a:t> </a:t>
            </a:r>
            <a:r>
              <a:rPr lang="en-US" sz="8000" err="1"/>
              <a:t>ontwikkelingen</a:t>
            </a:r>
            <a:endParaRPr lang="nl-NL" sz="8000"/>
          </a:p>
        </p:txBody>
      </p:sp>
    </p:spTree>
    <p:extLst>
      <p:ext uri="{BB962C8B-B14F-4D97-AF65-F5344CB8AC3E}">
        <p14:creationId xmlns:p14="http://schemas.microsoft.com/office/powerpoint/2010/main" val="2478930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ORACLE-BASE - VMware ESX Server 3.5 Update 2 Installation">
            <a:extLst>
              <a:ext uri="{FF2B5EF4-FFF2-40B4-BE49-F238E27FC236}">
                <a16:creationId xmlns:a16="http://schemas.microsoft.com/office/drawing/2014/main" id="{AFCAD923-1F37-912D-2273-290A54F523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50"/>
          <a:stretch/>
        </p:blipFill>
        <p:spPr bwMode="auto">
          <a:xfrm>
            <a:off x="3939350" y="2264486"/>
            <a:ext cx="4013922" cy="2743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First-gen iPhone sells at auction for $190K — about 380 times its original  price">
            <a:extLst>
              <a:ext uri="{FF2B5EF4-FFF2-40B4-BE49-F238E27FC236}">
                <a16:creationId xmlns:a16="http://schemas.microsoft.com/office/drawing/2014/main" id="{47E13993-95B4-3244-156B-547D934660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38" y="2264486"/>
            <a:ext cx="3539970" cy="2743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5962E5-4718-A208-BA92-77529E115B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830"/>
          <a:stretch/>
        </p:blipFill>
        <p:spPr>
          <a:xfrm>
            <a:off x="8120717" y="2264486"/>
            <a:ext cx="3719192" cy="2743477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4BFD56-B1C2-1319-8A5F-4225143D537B}"/>
              </a:ext>
            </a:extLst>
          </p:cNvPr>
          <p:cNvSpPr txBox="1"/>
          <p:nvPr/>
        </p:nvSpPr>
        <p:spPr>
          <a:xfrm>
            <a:off x="1286626" y="5245811"/>
            <a:ext cx="1426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latin typeface="IBM Plex Sans" panose="020B0503050203000203" pitchFamily="34" charset="0"/>
              </a:rPr>
              <a:t>Revolutie</a:t>
            </a:r>
            <a:r>
              <a:rPr lang="en-US">
                <a:latin typeface="IBM Plex Sans" panose="020B0503050203000203" pitchFamily="34" charset="0"/>
              </a:rPr>
              <a:t>(?)</a:t>
            </a:r>
            <a:endParaRPr lang="nl-NL">
              <a:latin typeface="IBM Plex Sans" panose="020B050305020300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8D1F29B-C06D-96F2-903A-1BC408EB9613}"/>
              </a:ext>
            </a:extLst>
          </p:cNvPr>
          <p:cNvSpPr txBox="1"/>
          <p:nvPr/>
        </p:nvSpPr>
        <p:spPr>
          <a:xfrm>
            <a:off x="9468794" y="5245811"/>
            <a:ext cx="1023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latin typeface="IBM Plex Sans" panose="020B0503050203000203" pitchFamily="34" charset="0"/>
              </a:rPr>
              <a:t>Evolutie</a:t>
            </a:r>
            <a:endParaRPr lang="nl-NL">
              <a:latin typeface="IBM Plex Sans" panose="020B050305020300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6942DD-75D1-8010-810E-E9A2861E2BC5}"/>
              </a:ext>
            </a:extLst>
          </p:cNvPr>
          <p:cNvSpPr txBox="1"/>
          <p:nvPr/>
        </p:nvSpPr>
        <p:spPr>
          <a:xfrm>
            <a:off x="5309758" y="5245811"/>
            <a:ext cx="12731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err="1">
                <a:latin typeface="IBM Plex Sans" panose="020B0503050203000203" pitchFamily="34" charset="0"/>
              </a:rPr>
              <a:t>Doorbraak</a:t>
            </a:r>
            <a:endParaRPr lang="nl-NL"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45DB05-FB74-5D87-3A5D-9AF53115F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/>
              <a:t>2007</a:t>
            </a:r>
            <a:r>
              <a:rPr lang="nl-NL"/>
              <a:t> | het jaar van…</a:t>
            </a:r>
          </a:p>
        </p:txBody>
      </p:sp>
    </p:spTree>
    <p:extLst>
      <p:ext uri="{BB962C8B-B14F-4D97-AF65-F5344CB8AC3E}">
        <p14:creationId xmlns:p14="http://schemas.microsoft.com/office/powerpoint/2010/main" val="114328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Value of SASE Security in Modern Network| InstaSafe Blog">
            <a:extLst>
              <a:ext uri="{FF2B5EF4-FFF2-40B4-BE49-F238E27FC236}">
                <a16:creationId xmlns:a16="http://schemas.microsoft.com/office/drawing/2014/main" id="{BD9A2098-BFA4-B89B-C7A0-9F462F29C6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4" r="25705" b="-1"/>
          <a:stretch/>
        </p:blipFill>
        <p:spPr bwMode="auto">
          <a:xfrm>
            <a:off x="7502287" y="3093051"/>
            <a:ext cx="3823578" cy="3200751"/>
          </a:xfrm>
          <a:custGeom>
            <a:avLst/>
            <a:gdLst/>
            <a:ahLst/>
            <a:cxnLst/>
            <a:rect l="l" t="t" r="r" b="b"/>
            <a:pathLst>
              <a:path w="7203799" h="6030364">
                <a:moveTo>
                  <a:pt x="4122552" y="0"/>
                </a:moveTo>
                <a:cubicBezTo>
                  <a:pt x="4596210" y="0"/>
                  <a:pt x="5032147" y="81110"/>
                  <a:pt x="5418463" y="240852"/>
                </a:cubicBezTo>
                <a:cubicBezTo>
                  <a:pt x="5780509" y="390677"/>
                  <a:pt x="6098496" y="609358"/>
                  <a:pt x="6363612" y="890695"/>
                </a:cubicBezTo>
                <a:cubicBezTo>
                  <a:pt x="6905445" y="1465899"/>
                  <a:pt x="7203799" y="2283333"/>
                  <a:pt x="7203799" y="3192481"/>
                </a:cubicBezTo>
                <a:cubicBezTo>
                  <a:pt x="7203799" y="3555204"/>
                  <a:pt x="7088321" y="3846319"/>
                  <a:pt x="6829541" y="4136467"/>
                </a:cubicBezTo>
                <a:cubicBezTo>
                  <a:pt x="6558859" y="4439977"/>
                  <a:pt x="6152137" y="4719524"/>
                  <a:pt x="5721456" y="5015457"/>
                </a:cubicBezTo>
                <a:cubicBezTo>
                  <a:pt x="5641997" y="5069990"/>
                  <a:pt x="5559911" y="5126451"/>
                  <a:pt x="5477826" y="5183599"/>
                </a:cubicBezTo>
                <a:cubicBezTo>
                  <a:pt x="4743068" y="5695047"/>
                  <a:pt x="4206802" y="6030364"/>
                  <a:pt x="3475911" y="6030364"/>
                </a:cubicBezTo>
                <a:cubicBezTo>
                  <a:pt x="2362258" y="6030364"/>
                  <a:pt x="1573553" y="5618755"/>
                  <a:pt x="838794" y="4653974"/>
                </a:cubicBezTo>
                <a:cubicBezTo>
                  <a:pt x="742642" y="4527696"/>
                  <a:pt x="648651" y="4412849"/>
                  <a:pt x="557754" y="4301854"/>
                </a:cubicBezTo>
                <a:cubicBezTo>
                  <a:pt x="181022" y="3841635"/>
                  <a:pt x="0" y="3602300"/>
                  <a:pt x="0" y="3192481"/>
                </a:cubicBezTo>
                <a:cubicBezTo>
                  <a:pt x="0" y="2785556"/>
                  <a:pt x="113467" y="2383585"/>
                  <a:pt x="337003" y="1997729"/>
                </a:cubicBezTo>
                <a:cubicBezTo>
                  <a:pt x="555745" y="1620270"/>
                  <a:pt x="868475" y="1274763"/>
                  <a:pt x="1266386" y="971116"/>
                </a:cubicBezTo>
                <a:cubicBezTo>
                  <a:pt x="1657494" y="672565"/>
                  <a:pt x="2122028" y="426344"/>
                  <a:pt x="2610064" y="259166"/>
                </a:cubicBezTo>
                <a:cubicBezTo>
                  <a:pt x="3111238" y="87171"/>
                  <a:pt x="3620296" y="0"/>
                  <a:pt x="4122552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Understanding Chat-GPT, And Why It's Even Bigger Than You Think (*updated)  – JOSH BERSIN">
            <a:extLst>
              <a:ext uri="{FF2B5EF4-FFF2-40B4-BE49-F238E27FC236}">
                <a16:creationId xmlns:a16="http://schemas.microsoft.com/office/drawing/2014/main" id="{64A805BF-DBF8-6C0D-B39B-3DA835CDD9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8154" y="1595835"/>
            <a:ext cx="2719473" cy="1443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0406E476-0E30-51D3-DB90-B26EF522FA01}"/>
              </a:ext>
            </a:extLst>
          </p:cNvPr>
          <p:cNvGrpSpPr/>
          <p:nvPr/>
        </p:nvGrpSpPr>
        <p:grpSpPr>
          <a:xfrm>
            <a:off x="406221" y="2994026"/>
            <a:ext cx="6183311" cy="3409950"/>
            <a:chOff x="4080715" y="3654535"/>
            <a:chExt cx="6183311" cy="3409950"/>
          </a:xfrm>
        </p:grpSpPr>
        <p:pic>
          <p:nvPicPr>
            <p:cNvPr id="3076" name="Picture 4" descr="NIS2 Directive | Prepare Your Organization Now">
              <a:extLst>
                <a:ext uri="{FF2B5EF4-FFF2-40B4-BE49-F238E27FC236}">
                  <a16:creationId xmlns:a16="http://schemas.microsoft.com/office/drawing/2014/main" id="{3B47CE63-C814-4694-1AFD-53E03AFB481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3629" b="9599"/>
            <a:stretch/>
          </p:blipFill>
          <p:spPr bwMode="auto">
            <a:xfrm>
              <a:off x="4080715" y="3654535"/>
              <a:ext cx="6183311" cy="34099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DEA24F7-2D05-D8CB-3FBD-1B6D5F6DFA06}"/>
                </a:ext>
              </a:extLst>
            </p:cNvPr>
            <p:cNvSpPr txBox="1"/>
            <p:nvPr/>
          </p:nvSpPr>
          <p:spPr>
            <a:xfrm>
              <a:off x="5700912" y="4014961"/>
              <a:ext cx="145264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>
                  <a:latin typeface="IBM Plex Sans" panose="020B0503050203000203" pitchFamily="34" charset="0"/>
                </a:rPr>
                <a:t>CYBER</a:t>
              </a:r>
              <a:endParaRPr lang="nl-NL" sz="3200">
                <a:latin typeface="IBM Plex Sans" panose="020B0503050203000203" pitchFamily="34" charset="0"/>
              </a:endParaRPr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38C0E920-97E4-92DD-A846-7A68DE5386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b="1"/>
              <a:t>2023</a:t>
            </a:r>
            <a:r>
              <a:rPr lang="nl-NL"/>
              <a:t> | Het jaar van…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7CC9BCFC-CCFA-7223-1150-7F9CE8EF57B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nl-NL"/>
              <a:t>Inspringen of niet?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795EF9A5-35EE-7634-DF2E-B9719BA1D3EF}"/>
              </a:ext>
            </a:extLst>
          </p:cNvPr>
          <p:cNvGrpSpPr/>
          <p:nvPr/>
        </p:nvGrpSpPr>
        <p:grpSpPr>
          <a:xfrm>
            <a:off x="9175056" y="333904"/>
            <a:ext cx="1900285" cy="2523861"/>
            <a:chOff x="8881055" y="296090"/>
            <a:chExt cx="2167645" cy="2878955"/>
          </a:xfrm>
        </p:grpSpPr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2E38D1F7-9504-AAC7-FEBF-6F74AE83D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/>
            <a:stretch/>
          </p:blipFill>
          <p:spPr>
            <a:xfrm>
              <a:off x="9306311" y="296090"/>
              <a:ext cx="1317133" cy="1646416"/>
            </a:xfrm>
            <a:prstGeom prst="rect">
              <a:avLst/>
            </a:prstGeom>
          </p:spPr>
        </p:pic>
        <p:sp>
          <p:nvSpPr>
            <p:cNvPr id="8" name="Titel 2">
              <a:extLst>
                <a:ext uri="{FF2B5EF4-FFF2-40B4-BE49-F238E27FC236}">
                  <a16:creationId xmlns:a16="http://schemas.microsoft.com/office/drawing/2014/main" id="{71D73F43-7B82-9627-02A4-3AA0F8BDAEB9}"/>
                </a:ext>
              </a:extLst>
            </p:cNvPr>
            <p:cNvSpPr txBox="1">
              <a:spLocks/>
            </p:cNvSpPr>
            <p:nvPr/>
          </p:nvSpPr>
          <p:spPr>
            <a:xfrm>
              <a:off x="8881055" y="1773850"/>
              <a:ext cx="2167645" cy="140119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3600" b="0" i="0" kern="1200">
                  <a:solidFill>
                    <a:srgbClr val="048BEC"/>
                  </a:solidFill>
                  <a:latin typeface="IBM Plex Sans" panose="020B0503050203000203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nl-NL">
                  <a:solidFill>
                    <a:schemeClr val="tx1"/>
                  </a:solidFill>
                </a:rPr>
                <a:t>HYBRID </a:t>
              </a:r>
            </a:p>
            <a:p>
              <a:pPr algn="ctr"/>
              <a:r>
                <a:rPr lang="nl-NL">
                  <a:solidFill>
                    <a:schemeClr val="tx1"/>
                  </a:solidFill>
                </a:rPr>
                <a:t>CLOU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3257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87EB172-7B76-B412-19EE-6327BCE001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5686287" cy="1325563"/>
          </a:xfrm>
        </p:spPr>
        <p:txBody>
          <a:bodyPr/>
          <a:lstStyle/>
          <a:p>
            <a:r>
              <a:rPr lang="en-US" err="1">
                <a:solidFill>
                  <a:srgbClr val="248DD8"/>
                </a:solidFill>
              </a:rPr>
              <a:t>Concreet</a:t>
            </a:r>
            <a:r>
              <a:rPr lang="en-US">
                <a:solidFill>
                  <a:srgbClr val="248DD8"/>
                </a:solidFill>
              </a:rPr>
              <a:t> AI </a:t>
            </a:r>
            <a:r>
              <a:rPr lang="en-US" err="1">
                <a:solidFill>
                  <a:srgbClr val="248DD8"/>
                </a:solidFill>
              </a:rPr>
              <a:t>voorbeeld</a:t>
            </a:r>
            <a:endParaRPr lang="nl-NL">
              <a:solidFill>
                <a:srgbClr val="248DD8"/>
              </a:solidFill>
            </a:endParaRP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D4492943-BC9C-5E0E-4CD9-07E09732E9DC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nl-NL" b="1">
                <a:solidFill>
                  <a:srgbClr val="248DD8"/>
                </a:solidFill>
              </a:rPr>
              <a:t>Microsoft Security </a:t>
            </a:r>
            <a:r>
              <a:rPr lang="nl-NL" b="1" err="1">
                <a:solidFill>
                  <a:srgbClr val="248DD8"/>
                </a:solidFill>
              </a:rPr>
              <a:t>Copilot</a:t>
            </a:r>
            <a:endParaRPr lang="nl-NL" b="1">
              <a:solidFill>
                <a:srgbClr val="248DD8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BA8FC00-5F8F-09A9-9E2F-A1989F3E0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8DEB7D00-7286-4D43-BC6B-85F887656985}" type="slidenum">
              <a:rPr lang="en-DK" smtClean="0"/>
              <a:pPr/>
              <a:t>13</a:t>
            </a:fld>
            <a:endParaRPr lang="en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022F7CE-C1A7-C31A-4BC1-A9F4FD6AD9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8972" y="1745079"/>
            <a:ext cx="5342926" cy="245440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98A3B91-2B12-235A-8BD4-AEA00337F1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4012" y="4573894"/>
            <a:ext cx="8729664" cy="191739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9F103B-108D-1A7F-2461-CAFCDAA3CA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4487" y="195038"/>
            <a:ext cx="3950011" cy="4199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431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A315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9C5A161-705F-9005-EC21-A29FE0C37C37}"/>
              </a:ext>
            </a:extLst>
          </p:cNvPr>
          <p:cNvSpPr/>
          <p:nvPr/>
        </p:nvSpPr>
        <p:spPr>
          <a:xfrm>
            <a:off x="7119323" y="1"/>
            <a:ext cx="5221847" cy="6858000"/>
          </a:xfrm>
          <a:prstGeom prst="rect">
            <a:avLst/>
          </a:prstGeom>
          <a:solidFill>
            <a:srgbClr val="218BD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  <a:p>
            <a:pPr lvl="1"/>
            <a:endParaRPr lang="en-US" b="1" u="sng"/>
          </a:p>
          <a:p>
            <a:pPr lvl="1"/>
            <a:endParaRPr lang="en-US" b="1" u="sng"/>
          </a:p>
          <a:p>
            <a:pPr lvl="1"/>
            <a:endParaRPr lang="en-US" b="1" u="sng"/>
          </a:p>
          <a:p>
            <a:pPr lvl="1"/>
            <a:endParaRPr lang="en-US" b="1" u="sng"/>
          </a:p>
          <a:p>
            <a:pPr lvl="1"/>
            <a:r>
              <a:rPr lang="en-US" b="1" u="sng" err="1"/>
              <a:t>Zelfde</a:t>
            </a:r>
            <a:r>
              <a:rPr lang="en-US" b="1" u="sng"/>
              <a:t> Design </a:t>
            </a:r>
            <a:r>
              <a:rPr lang="en-US" b="1" u="sng" err="1"/>
              <a:t>Principes</a:t>
            </a:r>
            <a:endParaRPr lang="en-US" b="1" u="sng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err="1"/>
              <a:t>Veiligheid</a:t>
            </a:r>
            <a:endParaRPr lang="en-US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err="1"/>
              <a:t>Schaalbaarheid</a:t>
            </a:r>
            <a:endParaRPr lang="en-US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err="1"/>
              <a:t>Robuustheid</a:t>
            </a:r>
            <a:endParaRPr lang="en-US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/>
              <a:t>“Fit for purpose”</a:t>
            </a:r>
          </a:p>
          <a:p>
            <a:pPr algn="ctr"/>
            <a:endParaRPr lang="en-US"/>
          </a:p>
          <a:p>
            <a:pPr lvl="1"/>
            <a:r>
              <a:rPr lang="en-US" b="1" u="sng" err="1"/>
              <a:t>Doelstellingen</a:t>
            </a:r>
            <a:r>
              <a:rPr lang="en-US" b="1" u="sng"/>
              <a:t> van de business</a:t>
            </a:r>
          </a:p>
          <a:p>
            <a:pPr lvl="1"/>
            <a:r>
              <a:rPr lang="en-US" err="1"/>
              <a:t>functionele</a:t>
            </a:r>
            <a:r>
              <a:rPr lang="en-US"/>
              <a:t> requiremen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/>
              <a:t>Uptime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err="1"/>
              <a:t>Zorgeloos</a:t>
            </a:r>
            <a:endParaRPr lang="en-US"/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/>
              <a:t>Time2market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/>
              <a:t>Always o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/>
              <a:t>% </a:t>
            </a:r>
            <a:r>
              <a:rPr lang="en-US" err="1"/>
              <a:t>beschikbaarheid</a:t>
            </a:r>
            <a:endParaRPr lang="en-US"/>
          </a:p>
          <a:p>
            <a:pPr algn="ctr"/>
            <a:endParaRPr lang="nl-NL"/>
          </a:p>
        </p:txBody>
      </p:sp>
      <p:pic>
        <p:nvPicPr>
          <p:cNvPr id="9218" name="Picture 2" descr="Value of SASE Security in Modern Network| InstaSafe Blog">
            <a:extLst>
              <a:ext uri="{FF2B5EF4-FFF2-40B4-BE49-F238E27FC236}">
                <a16:creationId xmlns:a16="http://schemas.microsoft.com/office/drawing/2014/main" id="{409D3071-D4CE-0945-BD6A-C07FC53895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4" r="25705" b="-1"/>
          <a:stretch/>
        </p:blipFill>
        <p:spPr bwMode="auto">
          <a:xfrm>
            <a:off x="-717225" y="1584546"/>
            <a:ext cx="6655180" cy="557106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37C6098-DD24-C2C2-CF2D-055A941CA758}"/>
              </a:ext>
            </a:extLst>
          </p:cNvPr>
          <p:cNvSpPr txBox="1"/>
          <p:nvPr/>
        </p:nvSpPr>
        <p:spPr>
          <a:xfrm>
            <a:off x="7493380" y="365125"/>
            <a:ext cx="44737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2800">
              <a:solidFill>
                <a:schemeClr val="bg1"/>
              </a:solidFill>
              <a:latin typeface="IBM Plex Sans" panose="020B0503050203000203" pitchFamily="34" charset="0"/>
            </a:endParaRPr>
          </a:p>
          <a:p>
            <a:r>
              <a:rPr lang="en-US" sz="2800">
                <a:solidFill>
                  <a:schemeClr val="bg1"/>
                </a:solidFill>
                <a:latin typeface="IBM Plex Sans" panose="020B0503050203000203" pitchFamily="34" charset="0"/>
              </a:rPr>
              <a:t>Applications – Data – </a:t>
            </a:r>
          </a:p>
          <a:p>
            <a:r>
              <a:rPr lang="en-US" sz="2800">
                <a:solidFill>
                  <a:schemeClr val="bg1"/>
                </a:solidFill>
                <a:latin typeface="IBM Plex Sans" panose="020B0503050203000203" pitchFamily="34" charset="0"/>
              </a:rPr>
              <a:t>Endpoints – Users </a:t>
            </a:r>
            <a:endParaRPr lang="nl-NL" sz="2800">
              <a:solidFill>
                <a:schemeClr val="bg1"/>
              </a:solidFill>
              <a:latin typeface="IBM Plex Sans" panose="020B050305020300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380DDD6-A765-187D-79AB-8A61A651D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cure Connect</a:t>
            </a:r>
          </a:p>
        </p:txBody>
      </p:sp>
    </p:spTree>
    <p:extLst>
      <p:ext uri="{BB962C8B-B14F-4D97-AF65-F5344CB8AC3E}">
        <p14:creationId xmlns:p14="http://schemas.microsoft.com/office/powerpoint/2010/main" val="42466757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E72D77A-242C-33FE-76C2-B11324833EC1}"/>
              </a:ext>
            </a:extLst>
          </p:cNvPr>
          <p:cNvSpPr txBox="1"/>
          <p:nvPr/>
        </p:nvSpPr>
        <p:spPr>
          <a:xfrm>
            <a:off x="1596770" y="5483240"/>
            <a:ext cx="14854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>
                <a:solidFill>
                  <a:schemeClr val="accent1"/>
                </a:solidFill>
              </a:rPr>
              <a:t>OpenFlow 1.0</a:t>
            </a:r>
          </a:p>
          <a:p>
            <a:pPr algn="ctr"/>
            <a:r>
              <a:rPr lang="en-US" sz="1400">
                <a:solidFill>
                  <a:schemeClr val="accent1"/>
                </a:solidFill>
              </a:rPr>
              <a:t> (2009)</a:t>
            </a:r>
            <a:endParaRPr lang="nl-NL" sz="1400">
              <a:solidFill>
                <a:schemeClr val="accent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91ECA08-BB1B-5C8C-7DD1-8C50CCA81A70}"/>
              </a:ext>
            </a:extLst>
          </p:cNvPr>
          <p:cNvSpPr txBox="1"/>
          <p:nvPr/>
        </p:nvSpPr>
        <p:spPr>
          <a:xfrm>
            <a:off x="3183522" y="5462704"/>
            <a:ext cx="138544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err="1"/>
              <a:t>Vmware</a:t>
            </a:r>
            <a:r>
              <a:rPr lang="en-US"/>
              <a:t> NSX</a:t>
            </a:r>
          </a:p>
          <a:p>
            <a:pPr algn="ctr"/>
            <a:r>
              <a:rPr lang="en-US" sz="1400"/>
              <a:t> (2012)</a:t>
            </a:r>
            <a:endParaRPr lang="nl-NL" sz="14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5BCFF1-3DE8-FE49-D7BE-14D8A681D920}"/>
              </a:ext>
            </a:extLst>
          </p:cNvPr>
          <p:cNvSpPr txBox="1"/>
          <p:nvPr/>
        </p:nvSpPr>
        <p:spPr>
          <a:xfrm>
            <a:off x="4965384" y="5431386"/>
            <a:ext cx="103387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Cisco ACI</a:t>
            </a:r>
          </a:p>
          <a:p>
            <a:pPr algn="ctr"/>
            <a:r>
              <a:rPr lang="en-US" sz="1400"/>
              <a:t>(2014)</a:t>
            </a:r>
            <a:endParaRPr lang="nl-NL" sz="1400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24A6A31-220D-1796-E1F8-B4E32B1B9091}"/>
              </a:ext>
            </a:extLst>
          </p:cNvPr>
          <p:cNvCxnSpPr>
            <a:cxnSpLocks/>
          </p:cNvCxnSpPr>
          <p:nvPr/>
        </p:nvCxnSpPr>
        <p:spPr>
          <a:xfrm>
            <a:off x="1495425" y="6457950"/>
            <a:ext cx="10429933" cy="0"/>
          </a:xfrm>
          <a:prstGeom prst="straightConnector1">
            <a:avLst/>
          </a:prstGeom>
          <a:ln w="25400">
            <a:solidFill>
              <a:srgbClr val="218BD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BE43C91-16DF-1587-B1AD-4BA4BC7BF5E1}"/>
              </a:ext>
            </a:extLst>
          </p:cNvPr>
          <p:cNvCxnSpPr>
            <a:cxnSpLocks/>
          </p:cNvCxnSpPr>
          <p:nvPr/>
        </p:nvCxnSpPr>
        <p:spPr>
          <a:xfrm flipV="1">
            <a:off x="1495425" y="2178756"/>
            <a:ext cx="0" cy="4279194"/>
          </a:xfrm>
          <a:prstGeom prst="straightConnector1">
            <a:avLst/>
          </a:prstGeom>
          <a:ln w="25400">
            <a:solidFill>
              <a:srgbClr val="218BD7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B7C69A37-F374-6EA3-CE71-D406DE9CC4BD}"/>
              </a:ext>
            </a:extLst>
          </p:cNvPr>
          <p:cNvSpPr txBox="1"/>
          <p:nvPr/>
        </p:nvSpPr>
        <p:spPr>
          <a:xfrm>
            <a:off x="3260153" y="2687991"/>
            <a:ext cx="15172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Cisco SD-WAN</a:t>
            </a:r>
          </a:p>
          <a:p>
            <a:pPr algn="ctr"/>
            <a:r>
              <a:rPr lang="en-US" sz="1400"/>
              <a:t>(2012)</a:t>
            </a:r>
            <a:endParaRPr lang="nl-NL" sz="140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AB9F3BF-541E-6E3E-1E73-0BA42290B7F4}"/>
              </a:ext>
            </a:extLst>
          </p:cNvPr>
          <p:cNvSpPr txBox="1"/>
          <p:nvPr/>
        </p:nvSpPr>
        <p:spPr>
          <a:xfrm>
            <a:off x="5921305" y="5431386"/>
            <a:ext cx="11461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Cisco DNA</a:t>
            </a:r>
          </a:p>
          <a:p>
            <a:pPr algn="ctr"/>
            <a:r>
              <a:rPr lang="en-US" sz="1400"/>
              <a:t>(2016)</a:t>
            </a:r>
            <a:endParaRPr lang="nl-NL" sz="140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D322F3C-72F4-22F1-E8FA-AF383F1720F9}"/>
              </a:ext>
            </a:extLst>
          </p:cNvPr>
          <p:cNvSpPr txBox="1"/>
          <p:nvPr/>
        </p:nvSpPr>
        <p:spPr>
          <a:xfrm>
            <a:off x="4262365" y="1958299"/>
            <a:ext cx="18678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Palo Alto SD-WAN</a:t>
            </a:r>
          </a:p>
          <a:p>
            <a:pPr algn="ctr"/>
            <a:r>
              <a:rPr lang="en-US" sz="1400"/>
              <a:t>(2013)</a:t>
            </a:r>
            <a:endParaRPr lang="nl-NL" sz="140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BAE8E53-4F24-DCEE-8D73-5F3C7406B6E7}"/>
              </a:ext>
            </a:extLst>
          </p:cNvPr>
          <p:cNvSpPr txBox="1"/>
          <p:nvPr/>
        </p:nvSpPr>
        <p:spPr>
          <a:xfrm>
            <a:off x="1803756" y="3461334"/>
            <a:ext cx="24650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Extreme Cloud IQ WLAN</a:t>
            </a:r>
          </a:p>
          <a:p>
            <a:pPr algn="ctr"/>
            <a:r>
              <a:rPr lang="en-US" sz="1400"/>
              <a:t>(2010)</a:t>
            </a:r>
            <a:endParaRPr lang="nl-NL" sz="140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C365CD4-341E-AF77-7AD4-78FC46BB1CE7}"/>
              </a:ext>
            </a:extLst>
          </p:cNvPr>
          <p:cNvSpPr txBox="1"/>
          <p:nvPr/>
        </p:nvSpPr>
        <p:spPr>
          <a:xfrm>
            <a:off x="6419773" y="2657366"/>
            <a:ext cx="168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Meraki SD-WAN</a:t>
            </a:r>
          </a:p>
          <a:p>
            <a:pPr algn="ctr"/>
            <a:r>
              <a:rPr lang="en-US" sz="1400"/>
              <a:t>(2017)</a:t>
            </a:r>
            <a:endParaRPr lang="nl-NL" sz="14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7650FF5-DD59-5184-CF07-879B7F425C1F}"/>
              </a:ext>
            </a:extLst>
          </p:cNvPr>
          <p:cNvSpPr txBox="1"/>
          <p:nvPr/>
        </p:nvSpPr>
        <p:spPr>
          <a:xfrm>
            <a:off x="3187249" y="4178782"/>
            <a:ext cx="15312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Meraki WLAN</a:t>
            </a:r>
          </a:p>
          <a:p>
            <a:pPr algn="ctr"/>
            <a:r>
              <a:rPr lang="en-US" sz="1400"/>
              <a:t>(2012)</a:t>
            </a:r>
            <a:endParaRPr lang="nl-NL" sz="140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7C9546A-F698-B1E8-E54F-D2986A2F2F30}"/>
              </a:ext>
            </a:extLst>
          </p:cNvPr>
          <p:cNvSpPr txBox="1"/>
          <p:nvPr/>
        </p:nvSpPr>
        <p:spPr>
          <a:xfrm>
            <a:off x="6366936" y="1975933"/>
            <a:ext cx="18277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VMware SD-WAN</a:t>
            </a:r>
          </a:p>
          <a:p>
            <a:pPr algn="ctr"/>
            <a:r>
              <a:rPr lang="en-US" sz="1400"/>
              <a:t>(2017)</a:t>
            </a:r>
            <a:endParaRPr lang="nl-NL" sz="14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DCC7EBE-04C4-5800-B32A-DEE71B02739D}"/>
              </a:ext>
            </a:extLst>
          </p:cNvPr>
          <p:cNvSpPr txBox="1"/>
          <p:nvPr/>
        </p:nvSpPr>
        <p:spPr>
          <a:xfrm>
            <a:off x="125767" y="5267796"/>
            <a:ext cx="123206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err="1"/>
              <a:t>OnPremise</a:t>
            </a:r>
            <a:endParaRPr lang="en-US" b="1"/>
          </a:p>
          <a:p>
            <a:pPr algn="ctr"/>
            <a:r>
              <a:rPr lang="en-US" sz="1400"/>
              <a:t>Software </a:t>
            </a:r>
          </a:p>
          <a:p>
            <a:pPr algn="ctr"/>
            <a:r>
              <a:rPr lang="en-US" sz="1400"/>
              <a:t>Defined</a:t>
            </a:r>
            <a:endParaRPr lang="nl-NL" sz="140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E3BF3FF-5EEB-BD6E-4F9D-88FF946E0F2A}"/>
              </a:ext>
            </a:extLst>
          </p:cNvPr>
          <p:cNvSpPr txBox="1"/>
          <p:nvPr/>
        </p:nvSpPr>
        <p:spPr>
          <a:xfrm>
            <a:off x="-45423" y="2930934"/>
            <a:ext cx="157665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/>
              <a:t>Cloud Based</a:t>
            </a:r>
          </a:p>
          <a:p>
            <a:pPr algn="ctr"/>
            <a:r>
              <a:rPr lang="en-US" sz="1400"/>
              <a:t>Software</a:t>
            </a:r>
          </a:p>
          <a:p>
            <a:pPr algn="ctr"/>
            <a:r>
              <a:rPr lang="en-US" sz="1400"/>
              <a:t>Defined /</a:t>
            </a:r>
          </a:p>
          <a:p>
            <a:pPr algn="ctr"/>
            <a:r>
              <a:rPr lang="en-US" sz="1400"/>
              <a:t>Controllers</a:t>
            </a:r>
            <a:endParaRPr lang="nl-NL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29D722A-A34D-4FC1-963F-1796B40FACCF}"/>
              </a:ext>
            </a:extLst>
          </p:cNvPr>
          <p:cNvSpPr txBox="1"/>
          <p:nvPr/>
        </p:nvSpPr>
        <p:spPr>
          <a:xfrm>
            <a:off x="8267621" y="3467253"/>
            <a:ext cx="22598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Extreme Cloud IQ LAN</a:t>
            </a:r>
          </a:p>
          <a:p>
            <a:pPr algn="ctr"/>
            <a:r>
              <a:rPr lang="en-US" sz="1400"/>
              <a:t>(2022)</a:t>
            </a:r>
            <a:endParaRPr lang="nl-NL" sz="14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4229B09-3218-6D85-B38A-E55B80A87359}"/>
              </a:ext>
            </a:extLst>
          </p:cNvPr>
          <p:cNvSpPr txBox="1"/>
          <p:nvPr/>
        </p:nvSpPr>
        <p:spPr>
          <a:xfrm>
            <a:off x="8062508" y="4178782"/>
            <a:ext cx="397480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/>
              <a:t>Cisco Nexus Dashboard / Catalyst Center</a:t>
            </a:r>
          </a:p>
          <a:p>
            <a:pPr algn="ctr"/>
            <a:r>
              <a:rPr lang="en-US" sz="1400"/>
              <a:t>(2022)		   (2023)</a:t>
            </a:r>
            <a:endParaRPr lang="nl-NL" sz="1400"/>
          </a:p>
        </p:txBody>
      </p:sp>
      <p:grpSp>
        <p:nvGrpSpPr>
          <p:cNvPr id="8" name="Groep 7">
            <a:extLst>
              <a:ext uri="{FF2B5EF4-FFF2-40B4-BE49-F238E27FC236}">
                <a16:creationId xmlns:a16="http://schemas.microsoft.com/office/drawing/2014/main" id="{2BC4BB3C-8771-15EB-B562-035CC4E9AC7B}"/>
              </a:ext>
            </a:extLst>
          </p:cNvPr>
          <p:cNvGrpSpPr/>
          <p:nvPr/>
        </p:nvGrpSpPr>
        <p:grpSpPr>
          <a:xfrm>
            <a:off x="8862939" y="0"/>
            <a:ext cx="3329062" cy="3148209"/>
            <a:chOff x="8862939" y="0"/>
            <a:chExt cx="3329062" cy="3148209"/>
          </a:xfrm>
        </p:grpSpPr>
        <p:sp>
          <p:nvSpPr>
            <p:cNvPr id="5" name="Rechthoek 4">
              <a:extLst>
                <a:ext uri="{FF2B5EF4-FFF2-40B4-BE49-F238E27FC236}">
                  <a16:creationId xmlns:a16="http://schemas.microsoft.com/office/drawing/2014/main" id="{91DB1B40-8A0B-346C-484C-5B89381BA335}"/>
                </a:ext>
              </a:extLst>
            </p:cNvPr>
            <p:cNvSpPr/>
            <p:nvPr/>
          </p:nvSpPr>
          <p:spPr>
            <a:xfrm>
              <a:off x="8862939" y="0"/>
              <a:ext cx="3329062" cy="3148209"/>
            </a:xfrm>
            <a:prstGeom prst="rect">
              <a:avLst/>
            </a:prstGeom>
            <a:solidFill>
              <a:srgbClr val="218BD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C2FB7C5-E633-E33C-C355-1D46837656B9}"/>
                </a:ext>
              </a:extLst>
            </p:cNvPr>
            <p:cNvSpPr/>
            <p:nvPr/>
          </p:nvSpPr>
          <p:spPr>
            <a:xfrm>
              <a:off x="9048122" y="97372"/>
              <a:ext cx="2852687" cy="2953464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solidFill>
                    <a:schemeClr val="bg1"/>
                  </a:solidFill>
                  <a:latin typeface="IBM Plex Sans" panose="020B0503050203000203" pitchFamily="34" charset="0"/>
                </a:rPr>
                <a:t>Cloud Based</a:t>
              </a:r>
            </a:p>
            <a:p>
              <a:pPr algn="ctr"/>
              <a:r>
                <a:rPr lang="en-US">
                  <a:solidFill>
                    <a:schemeClr val="bg1"/>
                  </a:solidFill>
                  <a:latin typeface="IBM Plex Sans" panose="020B0503050203000203" pitchFamily="34" charset="0"/>
                </a:rPr>
                <a:t>Overlay Network</a:t>
              </a:r>
            </a:p>
            <a:p>
              <a:pPr algn="ctr"/>
              <a:endParaRPr lang="en-US" u="sng">
                <a:solidFill>
                  <a:schemeClr val="bg1"/>
                </a:solidFill>
                <a:latin typeface="IBM Plex Sans" panose="020B0503050203000203" pitchFamily="34" charset="0"/>
              </a:endParaRPr>
            </a:p>
            <a:p>
              <a:pPr algn="ctr"/>
              <a:r>
                <a:rPr lang="en-US">
                  <a:solidFill>
                    <a:schemeClr val="bg1"/>
                  </a:solidFill>
                  <a:latin typeface="IBM Plex Sans" panose="020B0503050203000203" pitchFamily="34" charset="0"/>
                </a:rPr>
                <a:t>Centrale </a:t>
              </a:r>
              <a:r>
                <a:rPr lang="en-US" err="1">
                  <a:solidFill>
                    <a:schemeClr val="bg1"/>
                  </a:solidFill>
                  <a:latin typeface="IBM Plex Sans" panose="020B0503050203000203" pitchFamily="34" charset="0"/>
                </a:rPr>
                <a:t>Controle</a:t>
              </a:r>
              <a:r>
                <a:rPr lang="en-US">
                  <a:solidFill>
                    <a:schemeClr val="bg1"/>
                  </a:solidFill>
                  <a:latin typeface="IBM Plex Sans" panose="020B0503050203000203" pitchFamily="34" charset="0"/>
                </a:rPr>
                <a:t> </a:t>
              </a:r>
              <a:r>
                <a:rPr lang="en-US" err="1">
                  <a:solidFill>
                    <a:schemeClr val="bg1"/>
                  </a:solidFill>
                  <a:latin typeface="IBM Plex Sans" panose="020B0503050203000203" pitchFamily="34" charset="0"/>
                </a:rPr>
                <a:t>vanuit</a:t>
              </a:r>
              <a:r>
                <a:rPr lang="en-US">
                  <a:solidFill>
                    <a:schemeClr val="bg1"/>
                  </a:solidFill>
                  <a:latin typeface="IBM Plex Sans" panose="020B0503050203000203" pitchFamily="34" charset="0"/>
                </a:rPr>
                <a:t> Cloud</a:t>
              </a:r>
            </a:p>
            <a:p>
              <a:pPr algn="ctr"/>
              <a:endParaRPr lang="en-US" u="sng">
                <a:solidFill>
                  <a:schemeClr val="bg1"/>
                </a:solidFill>
                <a:latin typeface="IBM Plex Sans" panose="020B0503050203000203" pitchFamily="34" charset="0"/>
              </a:endParaRPr>
            </a:p>
            <a:p>
              <a:pPr algn="ctr"/>
              <a:r>
                <a:rPr lang="en-US" err="1">
                  <a:solidFill>
                    <a:schemeClr val="bg1"/>
                  </a:solidFill>
                  <a:latin typeface="IBM Plex Sans" panose="020B0503050203000203" pitchFamily="34" charset="0"/>
                </a:rPr>
                <a:t>Decentrale</a:t>
              </a:r>
              <a:endParaRPr lang="en-US">
                <a:solidFill>
                  <a:schemeClr val="bg1"/>
                </a:solidFill>
                <a:latin typeface="IBM Plex Sans" panose="020B0503050203000203" pitchFamily="34" charset="0"/>
              </a:endParaRPr>
            </a:p>
            <a:p>
              <a:pPr algn="ctr"/>
              <a:r>
                <a:rPr lang="en-US" err="1">
                  <a:solidFill>
                    <a:schemeClr val="bg1"/>
                  </a:solidFill>
                  <a:latin typeface="IBM Plex Sans" panose="020B0503050203000203" pitchFamily="34" charset="0"/>
                </a:rPr>
                <a:t>Functies</a:t>
              </a:r>
              <a:endParaRPr lang="en-US">
                <a:solidFill>
                  <a:schemeClr val="bg1"/>
                </a:solidFill>
                <a:latin typeface="IBM Plex Sans" panose="020B0503050203000203" pitchFamily="34" charset="0"/>
              </a:endParaRPr>
            </a:p>
          </p:txBody>
        </p: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7430120-883E-F1CD-C913-E69F8A88906D}"/>
              </a:ext>
            </a:extLst>
          </p:cNvPr>
          <p:cNvCxnSpPr/>
          <p:nvPr/>
        </p:nvCxnSpPr>
        <p:spPr>
          <a:xfrm>
            <a:off x="1531227" y="5050085"/>
            <a:ext cx="10394131" cy="0"/>
          </a:xfrm>
          <a:prstGeom prst="line">
            <a:avLst/>
          </a:prstGeom>
          <a:ln w="25400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Arrow: Right 53">
            <a:extLst>
              <a:ext uri="{FF2B5EF4-FFF2-40B4-BE49-F238E27FC236}">
                <a16:creationId xmlns:a16="http://schemas.microsoft.com/office/drawing/2014/main" id="{E106B4B4-FFBE-00EC-FFCB-732F1311B8BF}"/>
              </a:ext>
            </a:extLst>
          </p:cNvPr>
          <p:cNvSpPr/>
          <p:nvPr/>
        </p:nvSpPr>
        <p:spPr>
          <a:xfrm rot="19961926">
            <a:off x="8393640" y="1947679"/>
            <a:ext cx="1480465" cy="1068320"/>
          </a:xfrm>
          <a:prstGeom prst="rightArrow">
            <a:avLst/>
          </a:prstGeom>
          <a:solidFill>
            <a:srgbClr val="1A31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CF8D5D7-8F80-40B0-524F-5D23E0C72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b="1" kern="1200">
                <a:solidFill>
                  <a:srgbClr val="218BD7"/>
                </a:solidFill>
              </a:rPr>
              <a:t>SASE</a:t>
            </a:r>
            <a:r>
              <a:rPr lang="en-US" sz="3600" kern="1200">
                <a:solidFill>
                  <a:srgbClr val="218BD7"/>
                </a:solidFill>
              </a:rPr>
              <a:t> | </a:t>
            </a:r>
            <a:r>
              <a:rPr lang="en-US" sz="3600" kern="1200" err="1">
                <a:solidFill>
                  <a:srgbClr val="218BD7"/>
                </a:solidFill>
              </a:rPr>
              <a:t>Evolutie</a:t>
            </a:r>
            <a:r>
              <a:rPr lang="en-US" sz="3600" kern="1200">
                <a:solidFill>
                  <a:srgbClr val="218BD7"/>
                </a:solidFill>
              </a:rPr>
              <a:t> </a:t>
            </a:r>
            <a:r>
              <a:rPr lang="en-US" sz="3600" kern="1200" err="1">
                <a:solidFill>
                  <a:srgbClr val="218BD7"/>
                </a:solidFill>
              </a:rPr>
              <a:t>vanuit</a:t>
            </a:r>
            <a:r>
              <a:rPr lang="en-US" sz="3600" kern="1200">
                <a:solidFill>
                  <a:srgbClr val="218BD7"/>
                </a:solidFill>
              </a:rPr>
              <a:t> </a:t>
            </a:r>
            <a:r>
              <a:rPr lang="en-US" sz="3600" kern="1200" err="1">
                <a:solidFill>
                  <a:srgbClr val="218BD7"/>
                </a:solidFill>
              </a:rPr>
              <a:t>Revolutie</a:t>
            </a:r>
            <a:endParaRPr lang="en-US" sz="3600" kern="1200">
              <a:solidFill>
                <a:srgbClr val="218B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98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5" grpId="0"/>
      <p:bldP spid="26" grpId="0"/>
      <p:bldP spid="27" grpId="0"/>
      <p:bldP spid="28" grpId="0"/>
      <p:bldP spid="29" grpId="0"/>
      <p:bldP spid="37" grpId="0"/>
      <p:bldP spid="40" grpId="0"/>
      <p:bldP spid="41" grpId="0"/>
      <p:bldP spid="5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>
            <a:extLst>
              <a:ext uri="{FF2B5EF4-FFF2-40B4-BE49-F238E27FC236}">
                <a16:creationId xmlns:a16="http://schemas.microsoft.com/office/drawing/2014/main" id="{9FAFB38F-4C83-28EA-9BEA-653CD4F6F548}"/>
              </a:ext>
            </a:extLst>
          </p:cNvPr>
          <p:cNvSpPr/>
          <p:nvPr/>
        </p:nvSpPr>
        <p:spPr>
          <a:xfrm>
            <a:off x="10305028" y="2301716"/>
            <a:ext cx="1800000" cy="180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EE211FB-B0A0-1167-B7C8-7220F066FE66}"/>
              </a:ext>
            </a:extLst>
          </p:cNvPr>
          <p:cNvSpPr/>
          <p:nvPr/>
        </p:nvSpPr>
        <p:spPr>
          <a:xfrm>
            <a:off x="9843776" y="4376250"/>
            <a:ext cx="1434531" cy="140680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ECE99E-FE85-4217-1F9F-E59BD0146A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scia presentation</a:t>
            </a:r>
            <a:endParaRPr kumimoji="0" lang="en-DK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C7727F-7B7D-7443-15FA-E59D1B05EF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EB7D00-7286-4D43-BC6B-85F887656985}" type="slidenum">
              <a:rPr kumimoji="0" lang="en-DK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DK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995FF7-A771-E1C4-E0A8-0D2208AFB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2975" y="240911"/>
            <a:ext cx="10522226" cy="843852"/>
          </a:xfrm>
        </p:spPr>
        <p:txBody>
          <a:bodyPr>
            <a:normAutofit/>
          </a:bodyPr>
          <a:lstStyle/>
          <a:p>
            <a:r>
              <a:rPr lang="en-US" sz="3600" err="1">
                <a:solidFill>
                  <a:srgbClr val="218BD7"/>
                </a:solidFill>
                <a:latin typeface="IBM Plex Sans" panose="020B0503050203000203" pitchFamily="34" charset="0"/>
              </a:rPr>
              <a:t>Ontwikkeling</a:t>
            </a:r>
            <a:r>
              <a:rPr lang="en-US" sz="3600">
                <a:solidFill>
                  <a:srgbClr val="218BD7"/>
                </a:solidFill>
                <a:latin typeface="IBM Plex Sans" panose="020B0503050203000203" pitchFamily="34" charset="0"/>
              </a:rPr>
              <a:t> van “COMP24/7 B.V.”</a:t>
            </a:r>
            <a:endParaRPr lang="nl-NL" sz="3600">
              <a:solidFill>
                <a:srgbClr val="218BD7"/>
              </a:solidFill>
              <a:latin typeface="IBM Plex Sans" panose="020B0503050203000203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2026768-3A9A-0A4C-EFB7-7524F19E2985}"/>
              </a:ext>
            </a:extLst>
          </p:cNvPr>
          <p:cNvSpPr/>
          <p:nvPr/>
        </p:nvSpPr>
        <p:spPr>
          <a:xfrm>
            <a:off x="2186170" y="2919837"/>
            <a:ext cx="1800000" cy="180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EA53479-6F23-B812-D811-210F7ABBDAE2}"/>
              </a:ext>
            </a:extLst>
          </p:cNvPr>
          <p:cNvSpPr/>
          <p:nvPr/>
        </p:nvSpPr>
        <p:spPr>
          <a:xfrm>
            <a:off x="3986170" y="2121716"/>
            <a:ext cx="1080000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F4535D2-D78C-D2FE-7F1A-FEAE10E3BBE8}"/>
              </a:ext>
            </a:extLst>
          </p:cNvPr>
          <p:cNvSpPr/>
          <p:nvPr/>
        </p:nvSpPr>
        <p:spPr>
          <a:xfrm>
            <a:off x="3986170" y="4235472"/>
            <a:ext cx="1080000" cy="108000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-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536F279-6CC9-45BE-C97B-8EBBFB2EA485}"/>
              </a:ext>
            </a:extLst>
          </p:cNvPr>
          <p:cNvSpPr/>
          <p:nvPr/>
        </p:nvSpPr>
        <p:spPr>
          <a:xfrm>
            <a:off x="1799646" y="1712420"/>
            <a:ext cx="1080000" cy="1080000"/>
          </a:xfrm>
          <a:prstGeom prst="ellipse">
            <a:avLst/>
          </a:prstGeom>
          <a:noFill/>
          <a:ln w="76200">
            <a:solidFill>
              <a:srgbClr val="1766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BE5A049-19A8-332B-9078-2DFBC7F553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4494" y="3163545"/>
            <a:ext cx="72379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CAF9E8D-9E82-4396-9539-3467CBCD22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2599" y="3922648"/>
            <a:ext cx="723790" cy="72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1A93FBE-FC49-E151-9CF9-C019D0E8E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9385" y="4370962"/>
            <a:ext cx="723790" cy="720000"/>
          </a:xfrm>
          <a:prstGeom prst="rect">
            <a:avLst/>
          </a:prstGeom>
        </p:spPr>
      </p:pic>
      <p:sp>
        <p:nvSpPr>
          <p:cNvPr id="15" name="Arrow: Right 14">
            <a:extLst>
              <a:ext uri="{FF2B5EF4-FFF2-40B4-BE49-F238E27FC236}">
                <a16:creationId xmlns:a16="http://schemas.microsoft.com/office/drawing/2014/main" id="{8ED225A0-12E6-E899-028A-8B1077F8CBFC}"/>
              </a:ext>
            </a:extLst>
          </p:cNvPr>
          <p:cNvSpPr/>
          <p:nvPr/>
        </p:nvSpPr>
        <p:spPr>
          <a:xfrm>
            <a:off x="5352176" y="3429000"/>
            <a:ext cx="743824" cy="698383"/>
          </a:xfrm>
          <a:prstGeom prst="rightArrow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651E284-7607-671F-2B25-242039F90E0F}"/>
              </a:ext>
            </a:extLst>
          </p:cNvPr>
          <p:cNvSpPr/>
          <p:nvPr/>
        </p:nvSpPr>
        <p:spPr>
          <a:xfrm>
            <a:off x="9284560" y="1735104"/>
            <a:ext cx="1080000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11E28ED-7483-49CB-3043-636DE976F4A3}"/>
              </a:ext>
            </a:extLst>
          </p:cNvPr>
          <p:cNvSpPr/>
          <p:nvPr/>
        </p:nvSpPr>
        <p:spPr>
          <a:xfrm>
            <a:off x="7956091" y="1712420"/>
            <a:ext cx="1080000" cy="108000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D434F32-7D2E-C3F3-9F59-AC2AA6A0F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939" y="3163545"/>
            <a:ext cx="723790" cy="720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022B56F-E87B-CCC4-84E5-C266CBC06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9044" y="3922648"/>
            <a:ext cx="723790" cy="72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0370DBC-2A10-FF84-0115-3109A277A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65830" y="4370962"/>
            <a:ext cx="723790" cy="720000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12753AC1-DB11-F6F8-4477-65C8B75708D7}"/>
              </a:ext>
            </a:extLst>
          </p:cNvPr>
          <p:cNvSpPr/>
          <p:nvPr/>
        </p:nvSpPr>
        <p:spPr>
          <a:xfrm>
            <a:off x="8685028" y="3238191"/>
            <a:ext cx="1080000" cy="1080000"/>
          </a:xfrm>
          <a:prstGeom prst="ellipse">
            <a:avLst/>
          </a:prstGeom>
          <a:solidFill>
            <a:srgbClr val="033258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nect</a:t>
            </a:r>
            <a:endParaRPr kumimoji="0" lang="nl-NL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CC9DE42-8DD0-AD8E-FD76-EC31A287AEBB}"/>
              </a:ext>
            </a:extLst>
          </p:cNvPr>
          <p:cNvCxnSpPr>
            <a:cxnSpLocks/>
          </p:cNvCxnSpPr>
          <p:nvPr/>
        </p:nvCxnSpPr>
        <p:spPr>
          <a:xfrm>
            <a:off x="2558642" y="2792420"/>
            <a:ext cx="125835" cy="22810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0EB9F65-F654-BB34-263F-0657EED7F521}"/>
              </a:ext>
            </a:extLst>
          </p:cNvPr>
          <p:cNvCxnSpPr>
            <a:cxnSpLocks/>
            <a:stCxn id="6" idx="3"/>
          </p:cNvCxnSpPr>
          <p:nvPr/>
        </p:nvCxnSpPr>
        <p:spPr>
          <a:xfrm flipH="1">
            <a:off x="3825380" y="3043554"/>
            <a:ext cx="318952" cy="2464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52EA087-C3E9-1B41-1BB5-71AAF2F21ABA}"/>
              </a:ext>
            </a:extLst>
          </p:cNvPr>
          <p:cNvCxnSpPr/>
          <p:nvPr/>
        </p:nvCxnSpPr>
        <p:spPr>
          <a:xfrm flipH="1" flipV="1">
            <a:off x="3825380" y="4370962"/>
            <a:ext cx="234892" cy="16748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2DD3A49-2D37-1F76-ADCB-B979135142E4}"/>
              </a:ext>
            </a:extLst>
          </p:cNvPr>
          <p:cNvCxnSpPr>
            <a:cxnSpLocks/>
          </p:cNvCxnSpPr>
          <p:nvPr/>
        </p:nvCxnSpPr>
        <p:spPr>
          <a:xfrm flipH="1">
            <a:off x="2957083" y="4730962"/>
            <a:ext cx="72194" cy="2497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FD74C07-6342-F94B-4223-10B4A0C6AC41}"/>
              </a:ext>
            </a:extLst>
          </p:cNvPr>
          <p:cNvCxnSpPr/>
          <p:nvPr/>
        </p:nvCxnSpPr>
        <p:spPr>
          <a:xfrm flipH="1">
            <a:off x="2104177" y="4326729"/>
            <a:ext cx="187017" cy="14679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5EA0BBA-3BB7-F59D-C0B1-34EC933FED21}"/>
              </a:ext>
            </a:extLst>
          </p:cNvPr>
          <p:cNvCxnSpPr>
            <a:cxnSpLocks/>
          </p:cNvCxnSpPr>
          <p:nvPr/>
        </p:nvCxnSpPr>
        <p:spPr>
          <a:xfrm flipH="1">
            <a:off x="1509385" y="4009938"/>
            <a:ext cx="676785" cy="12360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53ECF0E-68FF-0EEF-5016-2F4112F77A29}"/>
              </a:ext>
            </a:extLst>
          </p:cNvPr>
          <p:cNvCxnSpPr>
            <a:cxnSpLocks/>
            <a:endCxn id="12" idx="3"/>
          </p:cNvCxnSpPr>
          <p:nvPr/>
        </p:nvCxnSpPr>
        <p:spPr>
          <a:xfrm flipH="1" flipV="1">
            <a:off x="1918284" y="3523545"/>
            <a:ext cx="279401" cy="55869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713599C-A42E-0697-888D-558B94D07C98}"/>
              </a:ext>
            </a:extLst>
          </p:cNvPr>
          <p:cNvCxnSpPr/>
          <p:nvPr/>
        </p:nvCxnSpPr>
        <p:spPr>
          <a:xfrm flipH="1">
            <a:off x="9437615" y="2792420"/>
            <a:ext cx="138476" cy="4457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80FE58E-51E5-B138-0B8C-94C18A50D207}"/>
              </a:ext>
            </a:extLst>
          </p:cNvPr>
          <p:cNvCxnSpPr/>
          <p:nvPr/>
        </p:nvCxnSpPr>
        <p:spPr>
          <a:xfrm flipH="1">
            <a:off x="9765028" y="3466529"/>
            <a:ext cx="594470" cy="1128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A31E81F-2DDF-2596-C78D-6D8CC693190A}"/>
              </a:ext>
            </a:extLst>
          </p:cNvPr>
          <p:cNvCxnSpPr/>
          <p:nvPr/>
        </p:nvCxnSpPr>
        <p:spPr>
          <a:xfrm>
            <a:off x="8730574" y="2792420"/>
            <a:ext cx="228868" cy="497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ABDB9CC-20AB-6EDF-D616-280E47B2C31F}"/>
              </a:ext>
            </a:extLst>
          </p:cNvPr>
          <p:cNvCxnSpPr>
            <a:stCxn id="21" idx="3"/>
          </p:cNvCxnSpPr>
          <p:nvPr/>
        </p:nvCxnSpPr>
        <p:spPr>
          <a:xfrm>
            <a:off x="8074729" y="3523545"/>
            <a:ext cx="609300" cy="13796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4ACDD8F-7F71-4B83-9ABA-184DF4D4950C}"/>
              </a:ext>
            </a:extLst>
          </p:cNvPr>
          <p:cNvCxnSpPr>
            <a:cxnSpLocks/>
          </p:cNvCxnSpPr>
          <p:nvPr/>
        </p:nvCxnSpPr>
        <p:spPr>
          <a:xfrm flipV="1">
            <a:off x="7665830" y="3969823"/>
            <a:ext cx="1019198" cy="19907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C8812C-C3A2-8795-EAA4-31ED4A61D9DD}"/>
              </a:ext>
            </a:extLst>
          </p:cNvPr>
          <p:cNvCxnSpPr/>
          <p:nvPr/>
        </p:nvCxnSpPr>
        <p:spPr>
          <a:xfrm flipH="1">
            <a:off x="8252834" y="4084596"/>
            <a:ext cx="477740" cy="3870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E39B4B-4193-AE71-A6B5-7AAB1F42A684}"/>
              </a:ext>
            </a:extLst>
          </p:cNvPr>
          <p:cNvCxnSpPr>
            <a:cxnSpLocks/>
          </p:cNvCxnSpPr>
          <p:nvPr/>
        </p:nvCxnSpPr>
        <p:spPr>
          <a:xfrm flipH="1">
            <a:off x="9036091" y="4278124"/>
            <a:ext cx="72070" cy="6914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68234B1-B86F-09B1-1B40-00D09AAE9207}"/>
              </a:ext>
            </a:extLst>
          </p:cNvPr>
          <p:cNvSpPr txBox="1"/>
          <p:nvPr/>
        </p:nvSpPr>
        <p:spPr>
          <a:xfrm>
            <a:off x="2393965" y="3971871"/>
            <a:ext cx="1313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23F03E-B77E-216F-A173-DD292215CFFD}"/>
              </a:ext>
            </a:extLst>
          </p:cNvPr>
          <p:cNvSpPr txBox="1"/>
          <p:nvPr/>
        </p:nvSpPr>
        <p:spPr>
          <a:xfrm>
            <a:off x="4083408" y="2681973"/>
            <a:ext cx="10650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Branche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E5D10BEF-508A-AB5C-01F7-5B3A1584B022}"/>
              </a:ext>
            </a:extLst>
          </p:cNvPr>
          <p:cNvSpPr/>
          <p:nvPr/>
        </p:nvSpPr>
        <p:spPr>
          <a:xfrm>
            <a:off x="2156784" y="4950073"/>
            <a:ext cx="1434531" cy="140680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AEE90F2-7546-4E89-2B89-1C39000B6B7B}"/>
              </a:ext>
            </a:extLst>
          </p:cNvPr>
          <p:cNvSpPr txBox="1"/>
          <p:nvPr/>
        </p:nvSpPr>
        <p:spPr>
          <a:xfrm>
            <a:off x="2291194" y="5695758"/>
            <a:ext cx="11972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air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73240AE-218B-88BD-8818-9DC385AA4602}"/>
              </a:ext>
            </a:extLst>
          </p:cNvPr>
          <p:cNvSpPr txBox="1"/>
          <p:nvPr/>
        </p:nvSpPr>
        <p:spPr>
          <a:xfrm>
            <a:off x="10547035" y="3135404"/>
            <a:ext cx="1313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6F7E94-48F5-9E57-BCD3-4E2BC3D32DCC}"/>
              </a:ext>
            </a:extLst>
          </p:cNvPr>
          <p:cNvSpPr txBox="1"/>
          <p:nvPr/>
        </p:nvSpPr>
        <p:spPr>
          <a:xfrm>
            <a:off x="9363383" y="2349942"/>
            <a:ext cx="10650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Branche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E183666-4755-352D-2363-EE0C7CC27F93}"/>
              </a:ext>
            </a:extLst>
          </p:cNvPr>
          <p:cNvSpPr txBox="1"/>
          <p:nvPr/>
        </p:nvSpPr>
        <p:spPr>
          <a:xfrm>
            <a:off x="9978186" y="5121935"/>
            <a:ext cx="11972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air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7B4642-FC0A-15AA-B96C-986402F3F9D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9635708" y="4199730"/>
            <a:ext cx="418150" cy="3825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685A695C-55A5-2D92-F171-EBFCA119D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60805" y="3186955"/>
            <a:ext cx="595584" cy="7697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F602F44-7922-898A-05B3-8531A6A69D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1327" y="2180929"/>
            <a:ext cx="449686" cy="58119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8FD838B-9676-75B9-5596-488E2B395F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9206" y="5090962"/>
            <a:ext cx="449686" cy="58119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45DCBC76-B7CC-2672-4052-1B170A51EB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91088" y="1858416"/>
            <a:ext cx="449686" cy="58119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EEC223A-2663-F671-1C79-7E4F5BC8B8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41948" y="4543903"/>
            <a:ext cx="449686" cy="5811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8D894-B923-E750-9757-5AE6D92FF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04560" y="2415688"/>
            <a:ext cx="595584" cy="76976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4221109-FD01-8FD0-A4F6-762BCD7E8EDB}"/>
              </a:ext>
            </a:extLst>
          </p:cNvPr>
          <p:cNvSpPr txBox="1"/>
          <p:nvPr/>
        </p:nvSpPr>
        <p:spPr>
          <a:xfrm>
            <a:off x="8389620" y="2339454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CA096D-2F02-F621-3F44-DEAE296DBEB5}"/>
              </a:ext>
            </a:extLst>
          </p:cNvPr>
          <p:cNvSpPr txBox="1"/>
          <p:nvPr/>
        </p:nvSpPr>
        <p:spPr>
          <a:xfrm>
            <a:off x="7769200" y="3347828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2E269E9-DD01-ED5B-2EB5-E66855B82C77}"/>
              </a:ext>
            </a:extLst>
          </p:cNvPr>
          <p:cNvSpPr txBox="1"/>
          <p:nvPr/>
        </p:nvSpPr>
        <p:spPr>
          <a:xfrm>
            <a:off x="7412524" y="4110101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3AD29B-D18B-D552-11A3-96607A55F79D}"/>
              </a:ext>
            </a:extLst>
          </p:cNvPr>
          <p:cNvSpPr txBox="1"/>
          <p:nvPr/>
        </p:nvSpPr>
        <p:spPr>
          <a:xfrm>
            <a:off x="8005864" y="4422981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344CFED-9514-F16B-2A1D-44424ECD2B6F}"/>
              </a:ext>
            </a:extLst>
          </p:cNvPr>
          <p:cNvSpPr txBox="1"/>
          <p:nvPr/>
        </p:nvSpPr>
        <p:spPr>
          <a:xfrm>
            <a:off x="4073300" y="4463223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693FD50-0F66-7418-F9AE-BF3E29096DCE}"/>
              </a:ext>
            </a:extLst>
          </p:cNvPr>
          <p:cNvSpPr txBox="1"/>
          <p:nvPr/>
        </p:nvSpPr>
        <p:spPr>
          <a:xfrm>
            <a:off x="1871751" y="4430004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964C71EE-598B-2469-939F-77294375BACD}"/>
              </a:ext>
            </a:extLst>
          </p:cNvPr>
          <p:cNvSpPr txBox="1"/>
          <p:nvPr/>
        </p:nvSpPr>
        <p:spPr>
          <a:xfrm>
            <a:off x="1223030" y="4048815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5DAD7FE4-F472-5B72-0D38-B1DE23DE5BD0}"/>
              </a:ext>
            </a:extLst>
          </p:cNvPr>
          <p:cNvSpPr txBox="1"/>
          <p:nvPr/>
        </p:nvSpPr>
        <p:spPr>
          <a:xfrm>
            <a:off x="1587351" y="3320225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B7714393-C6E5-0F51-3741-E5BAFD1B6D97}"/>
              </a:ext>
            </a:extLst>
          </p:cNvPr>
          <p:cNvSpPr txBox="1"/>
          <p:nvPr/>
        </p:nvSpPr>
        <p:spPr>
          <a:xfrm>
            <a:off x="2385939" y="2358189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1A7DABD-004F-5EED-91A1-847F2DA5C9C9}"/>
              </a:ext>
            </a:extLst>
          </p:cNvPr>
          <p:cNvSpPr/>
          <p:nvPr/>
        </p:nvSpPr>
        <p:spPr>
          <a:xfrm>
            <a:off x="8389620" y="4929549"/>
            <a:ext cx="1080000" cy="1080000"/>
          </a:xfrm>
          <a:prstGeom prst="ellipse">
            <a:avLst/>
          </a:prstGeom>
          <a:noFill/>
          <a:ln w="76200">
            <a:solidFill>
              <a:srgbClr val="1766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ovider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C989C6-3E19-911C-67A7-00D427E4C244}"/>
              </a:ext>
            </a:extLst>
          </p:cNvPr>
          <p:cNvSpPr txBox="1"/>
          <p:nvPr/>
        </p:nvSpPr>
        <p:spPr>
          <a:xfrm>
            <a:off x="8894366" y="4998912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7301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60" grpId="0" animBg="1"/>
      <p:bldP spid="15" grpId="0" animBg="1"/>
      <p:bldP spid="17" grpId="0" animBg="1"/>
      <p:bldP spid="19" grpId="0" animBg="1"/>
      <p:bldP spid="24" grpId="0" animBg="1"/>
      <p:bldP spid="50" grpId="0"/>
      <p:bldP spid="52" grpId="0"/>
      <p:bldP spid="62" grpId="0"/>
      <p:bldP spid="35" grpId="0"/>
      <p:bldP spid="36" grpId="0"/>
      <p:bldP spid="38" grpId="0"/>
      <p:bldP spid="42" grpId="0"/>
      <p:bldP spid="59" grpId="0" animBg="1"/>
      <p:bldP spid="4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>
            <a:extLst>
              <a:ext uri="{FF2B5EF4-FFF2-40B4-BE49-F238E27FC236}">
                <a16:creationId xmlns:a16="http://schemas.microsoft.com/office/drawing/2014/main" id="{9FAFB38F-4C83-28EA-9BEA-653CD4F6F548}"/>
              </a:ext>
            </a:extLst>
          </p:cNvPr>
          <p:cNvSpPr/>
          <p:nvPr/>
        </p:nvSpPr>
        <p:spPr>
          <a:xfrm>
            <a:off x="4074349" y="2529000"/>
            <a:ext cx="1800000" cy="180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EE211FB-B0A0-1167-B7C8-7220F066FE66}"/>
              </a:ext>
            </a:extLst>
          </p:cNvPr>
          <p:cNvSpPr/>
          <p:nvPr/>
        </p:nvSpPr>
        <p:spPr>
          <a:xfrm>
            <a:off x="3613097" y="4603534"/>
            <a:ext cx="1434531" cy="140680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0ECE99E-FE85-4217-1F9F-E59BD0146A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scia presentation</a:t>
            </a:r>
            <a:endParaRPr kumimoji="0" lang="en-DK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C7727F-7B7D-7443-15FA-E59D1B05EF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EB7D00-7286-4D43-BC6B-85F887656985}" type="slidenum">
              <a:rPr kumimoji="0" lang="en-DK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DK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995FF7-A771-E1C4-E0A8-0D2208AFB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574" y="441325"/>
            <a:ext cx="10522226" cy="843852"/>
          </a:xfrm>
        </p:spPr>
        <p:txBody>
          <a:bodyPr>
            <a:normAutofit/>
          </a:bodyPr>
          <a:lstStyle/>
          <a:p>
            <a:r>
              <a:rPr lang="en-US" sz="3600" err="1">
                <a:solidFill>
                  <a:schemeClr val="accent1"/>
                </a:solidFill>
                <a:latin typeface="IBM Plex Sans" panose="020B0503050203000203" pitchFamily="34" charset="0"/>
              </a:rPr>
              <a:t>Geen</a:t>
            </a:r>
            <a:r>
              <a:rPr lang="en-US" sz="3600">
                <a:solidFill>
                  <a:schemeClr val="accent1"/>
                </a:solidFill>
                <a:latin typeface="IBM Plex Sans" panose="020B0503050203000203" pitchFamily="34" charset="0"/>
              </a:rPr>
              <a:t> </a:t>
            </a:r>
            <a:r>
              <a:rPr lang="en-US" sz="3600" err="1">
                <a:solidFill>
                  <a:schemeClr val="accent1"/>
                </a:solidFill>
                <a:latin typeface="IBM Plex Sans" panose="020B0503050203000203" pitchFamily="34" charset="0"/>
              </a:rPr>
              <a:t>controle</a:t>
            </a:r>
            <a:r>
              <a:rPr lang="en-US" sz="3600">
                <a:solidFill>
                  <a:schemeClr val="accent1"/>
                </a:solidFill>
                <a:latin typeface="IBM Plex Sans" panose="020B0503050203000203" pitchFamily="34" charset="0"/>
              </a:rPr>
              <a:t> </a:t>
            </a:r>
            <a:r>
              <a:rPr lang="en-US" sz="3600" err="1">
                <a:solidFill>
                  <a:schemeClr val="accent1"/>
                </a:solidFill>
                <a:latin typeface="IBM Plex Sans" panose="020B0503050203000203" pitchFamily="34" charset="0"/>
              </a:rPr>
              <a:t>buiten</a:t>
            </a:r>
            <a:r>
              <a:rPr lang="en-US" sz="3600">
                <a:solidFill>
                  <a:schemeClr val="accent1"/>
                </a:solidFill>
                <a:latin typeface="IBM Plex Sans" panose="020B0503050203000203" pitchFamily="34" charset="0"/>
              </a:rPr>
              <a:t> “COMP24/7 B.V.”</a:t>
            </a:r>
            <a:endParaRPr lang="nl-NL" sz="3600">
              <a:solidFill>
                <a:schemeClr val="accent1"/>
              </a:solidFill>
              <a:latin typeface="IBM Plex Sans" panose="020B0503050203000203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651E284-7607-671F-2B25-242039F90E0F}"/>
              </a:ext>
            </a:extLst>
          </p:cNvPr>
          <p:cNvSpPr/>
          <p:nvPr/>
        </p:nvSpPr>
        <p:spPr>
          <a:xfrm>
            <a:off x="3053881" y="1962388"/>
            <a:ext cx="1080000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11E28ED-7483-49CB-3043-636DE976F4A3}"/>
              </a:ext>
            </a:extLst>
          </p:cNvPr>
          <p:cNvSpPr/>
          <p:nvPr/>
        </p:nvSpPr>
        <p:spPr>
          <a:xfrm>
            <a:off x="1725412" y="1939704"/>
            <a:ext cx="1080000" cy="108000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D434F32-7D2E-C3F3-9F59-AC2AA6A0F6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0260" y="3390829"/>
            <a:ext cx="723790" cy="720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022B56F-E87B-CCC4-84E5-C266CBC06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365" y="4149932"/>
            <a:ext cx="723790" cy="7200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D0370DBC-2A10-FF84-0115-3109A277A7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151" y="4598246"/>
            <a:ext cx="723790" cy="720000"/>
          </a:xfrm>
          <a:prstGeom prst="rect">
            <a:avLst/>
          </a:prstGeom>
        </p:spPr>
      </p:pic>
      <p:sp>
        <p:nvSpPr>
          <p:cNvPr id="24" name="Oval 23">
            <a:extLst>
              <a:ext uri="{FF2B5EF4-FFF2-40B4-BE49-F238E27FC236}">
                <a16:creationId xmlns:a16="http://schemas.microsoft.com/office/drawing/2014/main" id="{12753AC1-DB11-F6F8-4477-65C8B75708D7}"/>
              </a:ext>
            </a:extLst>
          </p:cNvPr>
          <p:cNvSpPr/>
          <p:nvPr/>
        </p:nvSpPr>
        <p:spPr>
          <a:xfrm>
            <a:off x="2454349" y="3465475"/>
            <a:ext cx="1080000" cy="1080000"/>
          </a:xfrm>
          <a:prstGeom prst="ellipse">
            <a:avLst/>
          </a:prstGeom>
          <a:solidFill>
            <a:srgbClr val="033258"/>
          </a:solidFill>
          <a:ln w="762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nect</a:t>
            </a:r>
            <a:endParaRPr kumimoji="0" lang="nl-NL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E713599C-A42E-0697-888D-558B94D07C98}"/>
              </a:ext>
            </a:extLst>
          </p:cNvPr>
          <p:cNvCxnSpPr/>
          <p:nvPr/>
        </p:nvCxnSpPr>
        <p:spPr>
          <a:xfrm flipH="1">
            <a:off x="3206936" y="3019704"/>
            <a:ext cx="138476" cy="4457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80FE58E-51E5-B138-0B8C-94C18A50D207}"/>
              </a:ext>
            </a:extLst>
          </p:cNvPr>
          <p:cNvCxnSpPr/>
          <p:nvPr/>
        </p:nvCxnSpPr>
        <p:spPr>
          <a:xfrm flipH="1">
            <a:off x="3534349" y="3693813"/>
            <a:ext cx="594470" cy="1128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A31E81F-2DDF-2596-C78D-6D8CC693190A}"/>
              </a:ext>
            </a:extLst>
          </p:cNvPr>
          <p:cNvCxnSpPr/>
          <p:nvPr/>
        </p:nvCxnSpPr>
        <p:spPr>
          <a:xfrm>
            <a:off x="2499895" y="3019704"/>
            <a:ext cx="228868" cy="49754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DABDB9CC-20AB-6EDF-D616-280E47B2C31F}"/>
              </a:ext>
            </a:extLst>
          </p:cNvPr>
          <p:cNvCxnSpPr>
            <a:stCxn id="21" idx="3"/>
          </p:cNvCxnSpPr>
          <p:nvPr/>
        </p:nvCxnSpPr>
        <p:spPr>
          <a:xfrm>
            <a:off x="1844050" y="3750829"/>
            <a:ext cx="609300" cy="13796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B4ACDD8F-7F71-4B83-9ABA-184DF4D4950C}"/>
              </a:ext>
            </a:extLst>
          </p:cNvPr>
          <p:cNvCxnSpPr>
            <a:cxnSpLocks/>
          </p:cNvCxnSpPr>
          <p:nvPr/>
        </p:nvCxnSpPr>
        <p:spPr>
          <a:xfrm flipV="1">
            <a:off x="1435151" y="4197107"/>
            <a:ext cx="1019198" cy="19907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BC8812C-C3A2-8795-EAA4-31ED4A61D9DD}"/>
              </a:ext>
            </a:extLst>
          </p:cNvPr>
          <p:cNvCxnSpPr/>
          <p:nvPr/>
        </p:nvCxnSpPr>
        <p:spPr>
          <a:xfrm flipH="1">
            <a:off x="2022155" y="4311880"/>
            <a:ext cx="477740" cy="38705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E39B4B-4193-AE71-A6B5-7AAB1F42A684}"/>
              </a:ext>
            </a:extLst>
          </p:cNvPr>
          <p:cNvCxnSpPr>
            <a:cxnSpLocks/>
          </p:cNvCxnSpPr>
          <p:nvPr/>
        </p:nvCxnSpPr>
        <p:spPr>
          <a:xfrm flipH="1">
            <a:off x="2805412" y="4505408"/>
            <a:ext cx="72070" cy="6914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873240AE-218B-88BD-8818-9DC385AA4602}"/>
              </a:ext>
            </a:extLst>
          </p:cNvPr>
          <p:cNvSpPr txBox="1"/>
          <p:nvPr/>
        </p:nvSpPr>
        <p:spPr>
          <a:xfrm>
            <a:off x="4316356" y="3362688"/>
            <a:ext cx="1313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16F7E94-48F5-9E57-BCD3-4E2BC3D32DCC}"/>
              </a:ext>
            </a:extLst>
          </p:cNvPr>
          <p:cNvSpPr txBox="1"/>
          <p:nvPr/>
        </p:nvSpPr>
        <p:spPr>
          <a:xfrm>
            <a:off x="3132704" y="2577226"/>
            <a:ext cx="10650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Branche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1E183666-4755-352D-2363-EE0C7CC27F93}"/>
              </a:ext>
            </a:extLst>
          </p:cNvPr>
          <p:cNvSpPr txBox="1"/>
          <p:nvPr/>
        </p:nvSpPr>
        <p:spPr>
          <a:xfrm>
            <a:off x="3747507" y="5349219"/>
            <a:ext cx="11972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air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47B4642-FC0A-15AA-B96C-986402F3F9D4}"/>
              </a:ext>
            </a:extLst>
          </p:cNvPr>
          <p:cNvCxnSpPr>
            <a:cxnSpLocks/>
            <a:endCxn id="60" idx="1"/>
          </p:cNvCxnSpPr>
          <p:nvPr/>
        </p:nvCxnSpPr>
        <p:spPr>
          <a:xfrm>
            <a:off x="3405029" y="4427014"/>
            <a:ext cx="418150" cy="3825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45DCBC76-B7CC-2672-4052-1B170A51EB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0409" y="2085700"/>
            <a:ext cx="449686" cy="58119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EEC223A-2663-F671-1C79-7E4F5BC8B8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1269" y="4771187"/>
            <a:ext cx="449686" cy="5811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F98D894-B923-E750-9757-5AE6D92FFE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3881" y="2642972"/>
            <a:ext cx="595584" cy="76976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54221109-FD01-8FD0-A4F6-762BCD7E8EDB}"/>
              </a:ext>
            </a:extLst>
          </p:cNvPr>
          <p:cNvSpPr txBox="1"/>
          <p:nvPr/>
        </p:nvSpPr>
        <p:spPr>
          <a:xfrm>
            <a:off x="2158941" y="2566738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3CA096D-2F02-F621-3F44-DEAE296DBEB5}"/>
              </a:ext>
            </a:extLst>
          </p:cNvPr>
          <p:cNvSpPr txBox="1"/>
          <p:nvPr/>
        </p:nvSpPr>
        <p:spPr>
          <a:xfrm>
            <a:off x="1538521" y="3575112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2E269E9-DD01-ED5B-2EB5-E66855B82C77}"/>
              </a:ext>
            </a:extLst>
          </p:cNvPr>
          <p:cNvSpPr txBox="1"/>
          <p:nvPr/>
        </p:nvSpPr>
        <p:spPr>
          <a:xfrm>
            <a:off x="1181845" y="4337385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3AD29B-D18B-D552-11A3-96607A55F79D}"/>
              </a:ext>
            </a:extLst>
          </p:cNvPr>
          <p:cNvSpPr txBox="1"/>
          <p:nvPr/>
        </p:nvSpPr>
        <p:spPr>
          <a:xfrm>
            <a:off x="1775185" y="4650265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1A7DABD-004F-5EED-91A1-847F2DA5C9C9}"/>
              </a:ext>
            </a:extLst>
          </p:cNvPr>
          <p:cNvSpPr/>
          <p:nvPr/>
        </p:nvSpPr>
        <p:spPr>
          <a:xfrm>
            <a:off x="2158941" y="5156833"/>
            <a:ext cx="1080000" cy="1080000"/>
          </a:xfrm>
          <a:prstGeom prst="ellipse">
            <a:avLst/>
          </a:prstGeom>
          <a:noFill/>
          <a:ln w="76200">
            <a:solidFill>
              <a:srgbClr val="1766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ovider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9C989C6-3E19-911C-67A7-00D427E4C244}"/>
              </a:ext>
            </a:extLst>
          </p:cNvPr>
          <p:cNvSpPr txBox="1"/>
          <p:nvPr/>
        </p:nvSpPr>
        <p:spPr>
          <a:xfrm>
            <a:off x="2663687" y="5226196"/>
            <a:ext cx="2936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?</a:t>
            </a:r>
            <a:endParaRPr kumimoji="0" lang="nl-NL" sz="1800" b="1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9" name="Picture 6" descr="Zero Trust&quot; Bilder – Durchsuchen 195 Archivfotos, Vektorgrafiken und Videos  | Adobe Stock">
            <a:extLst>
              <a:ext uri="{FF2B5EF4-FFF2-40B4-BE49-F238E27FC236}">
                <a16:creationId xmlns:a16="http://schemas.microsoft.com/office/drawing/2014/main" id="{3DA00A61-51E8-B7E3-A0D0-EFB445F1D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86" r="19152"/>
          <a:stretch/>
        </p:blipFill>
        <p:spPr bwMode="auto">
          <a:xfrm>
            <a:off x="6167081" y="2746653"/>
            <a:ext cx="5743663" cy="4125805"/>
          </a:xfrm>
          <a:custGeom>
            <a:avLst/>
            <a:gdLst/>
            <a:ahLst/>
            <a:cxnLst/>
            <a:rect l="l" t="t" r="r" b="b"/>
            <a:pathLst>
              <a:path w="9547224" h="6858000">
                <a:moveTo>
                  <a:pt x="1623023" y="0"/>
                </a:moveTo>
                <a:lnTo>
                  <a:pt x="2716256" y="0"/>
                </a:lnTo>
                <a:lnTo>
                  <a:pt x="3032455" y="0"/>
                </a:lnTo>
                <a:lnTo>
                  <a:pt x="3496422" y="0"/>
                </a:lnTo>
                <a:lnTo>
                  <a:pt x="5205951" y="0"/>
                </a:lnTo>
                <a:lnTo>
                  <a:pt x="9547224" y="0"/>
                </a:lnTo>
                <a:lnTo>
                  <a:pt x="9547224" y="6858000"/>
                </a:lnTo>
                <a:lnTo>
                  <a:pt x="5205951" y="6858000"/>
                </a:lnTo>
                <a:lnTo>
                  <a:pt x="3496422" y="6858000"/>
                </a:lnTo>
                <a:lnTo>
                  <a:pt x="3032455" y="6858000"/>
                </a:lnTo>
                <a:lnTo>
                  <a:pt x="2716256" y="6858000"/>
                </a:lnTo>
                <a:lnTo>
                  <a:pt x="2502754" y="6858000"/>
                </a:lnTo>
                <a:lnTo>
                  <a:pt x="2390998" y="6780599"/>
                </a:lnTo>
                <a:cubicBezTo>
                  <a:pt x="2217180" y="6653108"/>
                  <a:pt x="2046553" y="6515397"/>
                  <a:pt x="1874350" y="6374814"/>
                </a:cubicBezTo>
                <a:cubicBezTo>
                  <a:pt x="928725" y="5602839"/>
                  <a:pt x="0" y="4969131"/>
                  <a:pt x="0" y="3621656"/>
                </a:cubicBezTo>
                <a:cubicBezTo>
                  <a:pt x="0" y="2093192"/>
                  <a:pt x="573736" y="754641"/>
                  <a:pt x="1600899" y="14997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86260BB1-8772-7D60-FD13-A7A2BF2B11F9}"/>
              </a:ext>
            </a:extLst>
          </p:cNvPr>
          <p:cNvSpPr/>
          <p:nvPr/>
        </p:nvSpPr>
        <p:spPr>
          <a:xfrm>
            <a:off x="6036397" y="2529000"/>
            <a:ext cx="2051170" cy="45265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17393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Oval 82">
            <a:extLst>
              <a:ext uri="{FF2B5EF4-FFF2-40B4-BE49-F238E27FC236}">
                <a16:creationId xmlns:a16="http://schemas.microsoft.com/office/drawing/2014/main" id="{0DE6EDD1-8BBD-1755-360B-CF01B3CD620D}"/>
              </a:ext>
            </a:extLst>
          </p:cNvPr>
          <p:cNvSpPr/>
          <p:nvPr/>
        </p:nvSpPr>
        <p:spPr>
          <a:xfrm>
            <a:off x="8528458" y="5059210"/>
            <a:ext cx="1080000" cy="1080000"/>
          </a:xfrm>
          <a:prstGeom prst="ellipse">
            <a:avLst/>
          </a:prstGeom>
          <a:noFill/>
          <a:ln w="76200">
            <a:solidFill>
              <a:srgbClr val="1766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ovider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4100" name="Picture 4" descr="Conscia Nederland | LinkedIn">
            <a:extLst>
              <a:ext uri="{FF2B5EF4-FFF2-40B4-BE49-F238E27FC236}">
                <a16:creationId xmlns:a16="http://schemas.microsoft.com/office/drawing/2014/main" id="{7342BB9C-9680-31AF-4FA7-B7A7A08F28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615" y="4910245"/>
            <a:ext cx="936000" cy="93600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6E056A37-DD2A-5D44-CC3C-E51E20C26248}"/>
              </a:ext>
            </a:extLst>
          </p:cNvPr>
          <p:cNvSpPr/>
          <p:nvPr/>
        </p:nvSpPr>
        <p:spPr>
          <a:xfrm>
            <a:off x="9335718" y="1869421"/>
            <a:ext cx="1080000" cy="108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871AB93-6EEF-F580-2E26-DB55E76B9099}"/>
              </a:ext>
            </a:extLst>
          </p:cNvPr>
          <p:cNvSpPr/>
          <p:nvPr/>
        </p:nvSpPr>
        <p:spPr>
          <a:xfrm>
            <a:off x="10356186" y="2436033"/>
            <a:ext cx="1800000" cy="1800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E3CA798-75C7-8667-026F-7CB30643FA4F}"/>
              </a:ext>
            </a:extLst>
          </p:cNvPr>
          <p:cNvSpPr/>
          <p:nvPr/>
        </p:nvSpPr>
        <p:spPr>
          <a:xfrm>
            <a:off x="9894934" y="4510567"/>
            <a:ext cx="1434531" cy="1406807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2BAD3304-5AFF-107E-C830-A029CB3396C5}"/>
              </a:ext>
            </a:extLst>
          </p:cNvPr>
          <p:cNvSpPr/>
          <p:nvPr/>
        </p:nvSpPr>
        <p:spPr>
          <a:xfrm>
            <a:off x="5253333" y="4905656"/>
            <a:ext cx="936000" cy="936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AF50EE5-DD69-4F52-C5DD-D1F9661FDEA1}"/>
              </a:ext>
            </a:extLst>
          </p:cNvPr>
          <p:cNvSpPr/>
          <p:nvPr/>
        </p:nvSpPr>
        <p:spPr>
          <a:xfrm>
            <a:off x="6246682" y="4905397"/>
            <a:ext cx="936000" cy="93600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0E4FD979-B8C5-4966-946E-D0E5E5EDD925}"/>
              </a:ext>
            </a:extLst>
          </p:cNvPr>
          <p:cNvSpPr/>
          <p:nvPr/>
        </p:nvSpPr>
        <p:spPr>
          <a:xfrm>
            <a:off x="4259605" y="4905656"/>
            <a:ext cx="936000" cy="936000"/>
          </a:xfrm>
          <a:prstGeom prst="ellipse">
            <a:avLst/>
          </a:prstGeom>
          <a:noFill/>
          <a:ln w="38100">
            <a:solidFill>
              <a:srgbClr val="026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8813A483-CE4E-C602-61A8-4E89DB81D2B7}"/>
              </a:ext>
            </a:extLst>
          </p:cNvPr>
          <p:cNvSpPr/>
          <p:nvPr/>
        </p:nvSpPr>
        <p:spPr>
          <a:xfrm>
            <a:off x="7674297" y="2344062"/>
            <a:ext cx="3240000" cy="3240000"/>
          </a:xfrm>
          <a:prstGeom prst="ellipse">
            <a:avLst/>
          </a:prstGeom>
          <a:solidFill>
            <a:schemeClr val="accent5">
              <a:alpha val="23000"/>
            </a:schemeClr>
          </a:solidFill>
          <a:ln w="38100">
            <a:solidFill>
              <a:schemeClr val="accent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F428292-EFC0-1025-D0BD-142DF1DE5266}"/>
              </a:ext>
            </a:extLst>
          </p:cNvPr>
          <p:cNvSpPr/>
          <p:nvPr/>
        </p:nvSpPr>
        <p:spPr>
          <a:xfrm>
            <a:off x="282365" y="2654040"/>
            <a:ext cx="6739315" cy="21524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61616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Zero Trust Security </a:t>
            </a:r>
            <a:r>
              <a:rPr kumimoji="0" lang="en-US" sz="18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omein</a:t>
            </a:r>
            <a:endParaRPr kumimoji="0" lang="nl-NL" sz="18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C8CA23-8726-AE70-BBAB-D4256DB8A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365" y="982486"/>
            <a:ext cx="10522226" cy="1042988"/>
          </a:xfrm>
        </p:spPr>
        <p:txBody>
          <a:bodyPr>
            <a:normAutofit fontScale="90000"/>
          </a:bodyPr>
          <a:lstStyle/>
          <a:p>
            <a:r>
              <a:rPr lang="en-US" sz="4000" err="1">
                <a:solidFill>
                  <a:schemeClr val="accent1"/>
                </a:solidFill>
                <a:latin typeface="IBM Plex Sans" panose="020B0503050203000203" pitchFamily="34" charset="0"/>
              </a:rPr>
              <a:t>Architectuur</a:t>
            </a:r>
            <a:r>
              <a:rPr lang="en-US" sz="4000">
                <a:solidFill>
                  <a:schemeClr val="accent1"/>
                </a:solidFill>
                <a:latin typeface="IBM Plex Sans" panose="020B0503050203000203" pitchFamily="34" charset="0"/>
              </a:rPr>
              <a:t> van Morgen </a:t>
            </a:r>
            <a:r>
              <a:rPr lang="en-US" sz="4000" err="1">
                <a:solidFill>
                  <a:schemeClr val="accent1"/>
                </a:solidFill>
                <a:latin typeface="IBM Plex Sans" panose="020B0503050203000203" pitchFamily="34" charset="0"/>
              </a:rPr>
              <a:t>voor</a:t>
            </a:r>
            <a:r>
              <a:rPr lang="en-US" sz="4000">
                <a:solidFill>
                  <a:schemeClr val="accent1"/>
                </a:solidFill>
                <a:latin typeface="IBM Plex Sans" panose="020B0503050203000203" pitchFamily="34" charset="0"/>
              </a:rPr>
              <a:t> </a:t>
            </a:r>
            <a:r>
              <a:rPr lang="en-US" sz="4000">
                <a:solidFill>
                  <a:srgbClr val="218BD7"/>
                </a:solidFill>
                <a:latin typeface="IBM Plex Sans" panose="020B0503050203000203" pitchFamily="34" charset="0"/>
              </a:rPr>
              <a:t>“COMP24/7 B.V.”</a:t>
            </a:r>
            <a:br>
              <a:rPr lang="en-US">
                <a:solidFill>
                  <a:schemeClr val="accent1"/>
                </a:solidFill>
              </a:rPr>
            </a:br>
            <a:r>
              <a:rPr lang="en-US" sz="3100">
                <a:solidFill>
                  <a:schemeClr val="accent1"/>
                </a:solidFill>
              </a:rPr>
              <a:t>24/7 Secure IT Infrastructure</a:t>
            </a:r>
            <a:br>
              <a:rPr lang="en-US">
                <a:solidFill>
                  <a:schemeClr val="accent1"/>
                </a:solidFill>
              </a:rPr>
            </a:br>
            <a:endParaRPr lang="nl-NL">
              <a:solidFill>
                <a:schemeClr val="accent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42234BB5-1E7C-6906-A099-DA956CF4B54C}"/>
              </a:ext>
            </a:extLst>
          </p:cNvPr>
          <p:cNvSpPr/>
          <p:nvPr/>
        </p:nvSpPr>
        <p:spPr>
          <a:xfrm>
            <a:off x="8007249" y="1846737"/>
            <a:ext cx="1080000" cy="1080000"/>
          </a:xfrm>
          <a:prstGeom prst="ellipse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011D315-C520-2D79-34D6-8AF2F17C51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4848" y="3242120"/>
            <a:ext cx="723790" cy="720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D875DDB-D8F3-917F-F757-EE58086F9D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0202" y="4056965"/>
            <a:ext cx="723790" cy="720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F89C92-8CB9-946E-34ED-0E9D0DE841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2819" y="4655439"/>
            <a:ext cx="723790" cy="720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01518C17-E20D-3E44-1253-283DD235DE83}"/>
              </a:ext>
            </a:extLst>
          </p:cNvPr>
          <p:cNvCxnSpPr/>
          <p:nvPr/>
        </p:nvCxnSpPr>
        <p:spPr>
          <a:xfrm flipH="1">
            <a:off x="9488773" y="2926737"/>
            <a:ext cx="138476" cy="445771"/>
          </a:xfrm>
          <a:prstGeom prst="line">
            <a:avLst/>
          </a:prstGeom>
          <a:ln w="381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115A566-150C-4F11-BF21-1A9DDDD90BCF}"/>
              </a:ext>
            </a:extLst>
          </p:cNvPr>
          <p:cNvCxnSpPr/>
          <p:nvPr/>
        </p:nvCxnSpPr>
        <p:spPr>
          <a:xfrm flipH="1">
            <a:off x="9816186" y="3600846"/>
            <a:ext cx="594470" cy="112885"/>
          </a:xfrm>
          <a:prstGeom prst="line">
            <a:avLst/>
          </a:prstGeom>
          <a:ln w="381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BC19696-4BFD-0EE4-65DE-4145E0D6E460}"/>
              </a:ext>
            </a:extLst>
          </p:cNvPr>
          <p:cNvCxnSpPr/>
          <p:nvPr/>
        </p:nvCxnSpPr>
        <p:spPr>
          <a:xfrm>
            <a:off x="8781732" y="2926737"/>
            <a:ext cx="228868" cy="497540"/>
          </a:xfrm>
          <a:prstGeom prst="line">
            <a:avLst/>
          </a:prstGeom>
          <a:ln w="381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A73115F-55F3-EA2B-B9C5-9E317A727859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7948638" y="3602120"/>
            <a:ext cx="728937" cy="1687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CF1B6D-8CD0-E401-C9C0-47B334346C1D}"/>
              </a:ext>
            </a:extLst>
          </p:cNvPr>
          <p:cNvCxnSpPr>
            <a:cxnSpLocks/>
          </p:cNvCxnSpPr>
          <p:nvPr/>
        </p:nvCxnSpPr>
        <p:spPr>
          <a:xfrm flipV="1">
            <a:off x="7716988" y="4104140"/>
            <a:ext cx="1019198" cy="1990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64AF04A-2E99-D110-9692-8CCFD3101413}"/>
              </a:ext>
            </a:extLst>
          </p:cNvPr>
          <p:cNvCxnSpPr>
            <a:cxnSpLocks/>
          </p:cNvCxnSpPr>
          <p:nvPr/>
        </p:nvCxnSpPr>
        <p:spPr>
          <a:xfrm flipH="1">
            <a:off x="8272592" y="4218913"/>
            <a:ext cx="509140" cy="4976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C5AA61A-94C8-9D60-2A16-A6F60FA63D0F}"/>
              </a:ext>
            </a:extLst>
          </p:cNvPr>
          <p:cNvCxnSpPr>
            <a:cxnSpLocks/>
          </p:cNvCxnSpPr>
          <p:nvPr/>
        </p:nvCxnSpPr>
        <p:spPr>
          <a:xfrm flipH="1">
            <a:off x="9087249" y="4412441"/>
            <a:ext cx="72070" cy="691492"/>
          </a:xfrm>
          <a:prstGeom prst="line">
            <a:avLst/>
          </a:prstGeom>
          <a:ln w="381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40E33BD-1BFB-1F2C-B30A-0774C15D8452}"/>
              </a:ext>
            </a:extLst>
          </p:cNvPr>
          <p:cNvSpPr txBox="1"/>
          <p:nvPr/>
        </p:nvSpPr>
        <p:spPr>
          <a:xfrm>
            <a:off x="10598193" y="3269721"/>
            <a:ext cx="1313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F96F13D-75FC-A06E-8CBE-99E5B998F6EC}"/>
              </a:ext>
            </a:extLst>
          </p:cNvPr>
          <p:cNvSpPr txBox="1"/>
          <p:nvPr/>
        </p:nvSpPr>
        <p:spPr>
          <a:xfrm>
            <a:off x="9350743" y="2452360"/>
            <a:ext cx="10650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locatie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45EBD85-0004-FC88-C2E5-F5C903429AA4}"/>
              </a:ext>
            </a:extLst>
          </p:cNvPr>
          <p:cNvSpPr txBox="1"/>
          <p:nvPr/>
        </p:nvSpPr>
        <p:spPr>
          <a:xfrm>
            <a:off x="10029344" y="5256252"/>
            <a:ext cx="11972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air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E2C0546-9EEB-47E1-98FC-E0498EC708C7}"/>
              </a:ext>
            </a:extLst>
          </p:cNvPr>
          <p:cNvCxnSpPr>
            <a:cxnSpLocks/>
            <a:endCxn id="22" idx="1"/>
          </p:cNvCxnSpPr>
          <p:nvPr/>
        </p:nvCxnSpPr>
        <p:spPr>
          <a:xfrm>
            <a:off x="9686866" y="4334047"/>
            <a:ext cx="418150" cy="382542"/>
          </a:xfrm>
          <a:prstGeom prst="line">
            <a:avLst/>
          </a:prstGeom>
          <a:ln w="38100">
            <a:solidFill>
              <a:srgbClr val="59595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A0B831B-4C99-E85A-D845-DA87E612150A}"/>
              </a:ext>
            </a:extLst>
          </p:cNvPr>
          <p:cNvSpPr/>
          <p:nvPr/>
        </p:nvSpPr>
        <p:spPr>
          <a:xfrm>
            <a:off x="434831" y="3619431"/>
            <a:ext cx="6399123" cy="410624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ndpoint / Cloud Security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ABB3B99E-EDF4-09F3-DDD4-99ACD2376FE9}"/>
              </a:ext>
            </a:extLst>
          </p:cNvPr>
          <p:cNvSpPr/>
          <p:nvPr/>
        </p:nvSpPr>
        <p:spPr>
          <a:xfrm>
            <a:off x="434831" y="3152238"/>
            <a:ext cx="3210716" cy="41062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Identity Security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8194050-158D-DE1F-BC47-EE76B2545B8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95644" y="2572433"/>
            <a:ext cx="556748" cy="719571"/>
          </a:xfrm>
          <a:prstGeom prst="rect">
            <a:avLst/>
          </a:prstGeom>
        </p:spPr>
      </p:pic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9AF468C2-2190-387A-F027-5D77F483A110}"/>
              </a:ext>
            </a:extLst>
          </p:cNvPr>
          <p:cNvSpPr/>
          <p:nvPr/>
        </p:nvSpPr>
        <p:spPr>
          <a:xfrm>
            <a:off x="440331" y="4096874"/>
            <a:ext cx="6399124" cy="6539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Overlay Secure Network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365DAB29-B8FA-D8D8-C9FD-1DE2CCCA2F14}"/>
              </a:ext>
            </a:extLst>
          </p:cNvPr>
          <p:cNvSpPr/>
          <p:nvPr/>
        </p:nvSpPr>
        <p:spPr>
          <a:xfrm>
            <a:off x="2387500" y="4470734"/>
            <a:ext cx="4370362" cy="195449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ata fabric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58E16670-38F9-9DBE-2F3D-C03F4AFC3D6E}"/>
              </a:ext>
            </a:extLst>
          </p:cNvPr>
          <p:cNvSpPr/>
          <p:nvPr/>
        </p:nvSpPr>
        <p:spPr>
          <a:xfrm>
            <a:off x="3722196" y="3151279"/>
            <a:ext cx="3111759" cy="41062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Application Security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7CCE600F-D5CD-DB76-9C2C-9F3215260A5A}"/>
              </a:ext>
            </a:extLst>
          </p:cNvPr>
          <p:cNvSpPr/>
          <p:nvPr/>
        </p:nvSpPr>
        <p:spPr>
          <a:xfrm>
            <a:off x="7972060" y="2623192"/>
            <a:ext cx="2628000" cy="2628000"/>
          </a:xfrm>
          <a:prstGeom prst="ellipse">
            <a:avLst/>
          </a:prstGeom>
          <a:noFill/>
          <a:ln w="3810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F8549BA-0694-B9F7-C91F-30E83B7E6E73}"/>
              </a:ext>
            </a:extLst>
          </p:cNvPr>
          <p:cNvSpPr/>
          <p:nvPr/>
        </p:nvSpPr>
        <p:spPr>
          <a:xfrm>
            <a:off x="7858567" y="2496344"/>
            <a:ext cx="2880000" cy="2880000"/>
          </a:xfrm>
          <a:prstGeom prst="ellipse">
            <a:avLst/>
          </a:prstGeom>
          <a:noFill/>
          <a:ln w="381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F6F7A0E8-02A6-FB2E-0659-F7116E292059}"/>
              </a:ext>
            </a:extLst>
          </p:cNvPr>
          <p:cNvSpPr/>
          <p:nvPr/>
        </p:nvSpPr>
        <p:spPr>
          <a:xfrm>
            <a:off x="7761437" y="2447057"/>
            <a:ext cx="3060000" cy="3060000"/>
          </a:xfrm>
          <a:prstGeom prst="ellipse">
            <a:avLst/>
          </a:prstGeom>
          <a:noFill/>
          <a:ln w="381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D8C674D1-CEB9-397B-2C5F-DC20F543B9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7356" y="4669994"/>
            <a:ext cx="449686" cy="581198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48D441D-AAE8-213C-D373-5A54E5F576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05739" y="2106799"/>
            <a:ext cx="289455" cy="374107"/>
          </a:xfrm>
          <a:prstGeom prst="rect">
            <a:avLst/>
          </a:prstGeom>
        </p:spPr>
      </p:pic>
      <p:sp>
        <p:nvSpPr>
          <p:cNvPr id="56" name="Oval 55">
            <a:extLst>
              <a:ext uri="{FF2B5EF4-FFF2-40B4-BE49-F238E27FC236}">
                <a16:creationId xmlns:a16="http://schemas.microsoft.com/office/drawing/2014/main" id="{613ACD5A-4300-AD09-B24F-B11D0720747A}"/>
              </a:ext>
            </a:extLst>
          </p:cNvPr>
          <p:cNvSpPr/>
          <p:nvPr/>
        </p:nvSpPr>
        <p:spPr>
          <a:xfrm>
            <a:off x="66582" y="4875610"/>
            <a:ext cx="723790" cy="723600"/>
          </a:xfrm>
          <a:prstGeom prst="ellipse">
            <a:avLst/>
          </a:prstGeom>
          <a:noFill/>
          <a:ln w="38100">
            <a:solidFill>
              <a:srgbClr val="026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25772EFE-C2A8-4757-3F38-E8A991FBABD9}"/>
              </a:ext>
            </a:extLst>
          </p:cNvPr>
          <p:cNvSpPr/>
          <p:nvPr/>
        </p:nvSpPr>
        <p:spPr>
          <a:xfrm>
            <a:off x="788596" y="4881502"/>
            <a:ext cx="723790" cy="723600"/>
          </a:xfrm>
          <a:prstGeom prst="ellipse">
            <a:avLst/>
          </a:prstGeom>
          <a:noFill/>
          <a:ln w="38100">
            <a:solidFill>
              <a:srgbClr val="026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FF57C054-051B-AD52-F75B-35A1DFC691E5}"/>
              </a:ext>
            </a:extLst>
          </p:cNvPr>
          <p:cNvSpPr/>
          <p:nvPr/>
        </p:nvSpPr>
        <p:spPr>
          <a:xfrm>
            <a:off x="1543163" y="4875610"/>
            <a:ext cx="723790" cy="723600"/>
          </a:xfrm>
          <a:prstGeom prst="ellipse">
            <a:avLst/>
          </a:prstGeom>
          <a:noFill/>
          <a:ln w="38100">
            <a:solidFill>
              <a:srgbClr val="026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7CBB1848-0A3A-BF12-5477-04D67CFA220B}"/>
              </a:ext>
            </a:extLst>
          </p:cNvPr>
          <p:cNvSpPr/>
          <p:nvPr/>
        </p:nvSpPr>
        <p:spPr>
          <a:xfrm>
            <a:off x="3290035" y="4910948"/>
            <a:ext cx="936000" cy="936000"/>
          </a:xfrm>
          <a:prstGeom prst="ellipse">
            <a:avLst/>
          </a:prstGeom>
          <a:noFill/>
          <a:ln w="38100">
            <a:solidFill>
              <a:srgbClr val="0269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6824DAC6-A4C5-3E34-71DE-5F11C0096038}"/>
              </a:ext>
            </a:extLst>
          </p:cNvPr>
          <p:cNvSpPr/>
          <p:nvPr/>
        </p:nvSpPr>
        <p:spPr>
          <a:xfrm>
            <a:off x="229199" y="4716264"/>
            <a:ext cx="6840000" cy="172868"/>
          </a:xfrm>
          <a:prstGeom prst="roundRect">
            <a:avLst/>
          </a:prstGeom>
          <a:solidFill>
            <a:srgbClr val="3D49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 Connect</a:t>
            </a:r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A0A14AB-3559-4F52-A3ED-C4E032F21ED8}"/>
              </a:ext>
            </a:extLst>
          </p:cNvPr>
          <p:cNvSpPr/>
          <p:nvPr/>
        </p:nvSpPr>
        <p:spPr>
          <a:xfrm>
            <a:off x="8736186" y="3372508"/>
            <a:ext cx="1080000" cy="1080000"/>
          </a:xfrm>
          <a:prstGeom prst="ellipse">
            <a:avLst/>
          </a:prstGeom>
          <a:solidFill>
            <a:srgbClr val="3D4958"/>
          </a:solidFill>
          <a:ln w="76200">
            <a:solidFill>
              <a:srgbClr val="3D49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nect</a:t>
            </a:r>
            <a:endParaRPr kumimoji="0" lang="nl-NL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4098" name="Picture 2" descr="upload.wikimedia.org/wikipedia/commons/thumb/f/...">
            <a:extLst>
              <a:ext uri="{FF2B5EF4-FFF2-40B4-BE49-F238E27FC236}">
                <a16:creationId xmlns:a16="http://schemas.microsoft.com/office/drawing/2014/main" id="{433953E8-6E32-6DED-133E-9C86D8524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494" y="4921581"/>
            <a:ext cx="936000" cy="936000"/>
          </a:xfrm>
          <a:prstGeom prst="ellipse">
            <a:avLst/>
          </a:prstGeom>
          <a:noFill/>
          <a:ln w="38100">
            <a:solidFill>
              <a:srgbClr val="0269B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Home | Smartdc">
            <a:extLst>
              <a:ext uri="{FF2B5EF4-FFF2-40B4-BE49-F238E27FC236}">
                <a16:creationId xmlns:a16="http://schemas.microsoft.com/office/drawing/2014/main" id="{DF38E472-1237-8EE0-B11A-C9A3F7FFA8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905" y="5402736"/>
            <a:ext cx="744828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97132220-718C-7C02-3FAD-8B5348D5DF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9278" y="4930742"/>
            <a:ext cx="239713" cy="309817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AF089C1D-030C-1B09-A7E0-3470305112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1739" y="4930742"/>
            <a:ext cx="239713" cy="309817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EB84A6D1-946E-4466-37D9-3657AF7740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545" y="4905397"/>
            <a:ext cx="542591" cy="560881"/>
          </a:xfrm>
          <a:prstGeom prst="rect">
            <a:avLst/>
          </a:prstGeom>
        </p:spPr>
      </p:pic>
      <p:pic>
        <p:nvPicPr>
          <p:cNvPr id="82" name="Picture 81">
            <a:extLst>
              <a:ext uri="{FF2B5EF4-FFF2-40B4-BE49-F238E27FC236}">
                <a16:creationId xmlns:a16="http://schemas.microsoft.com/office/drawing/2014/main" id="{1BF13CAF-C015-EE50-7180-13BE12968AB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4757" y="4879297"/>
            <a:ext cx="542591" cy="560881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001EED8A-06DD-7428-3829-9E83DC520C1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2461" y="4960557"/>
            <a:ext cx="388125" cy="401208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01D54DAE-5C55-DE86-E446-A2FAFB1CB92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2864" y="2583203"/>
            <a:ext cx="388125" cy="401208"/>
          </a:xfrm>
          <a:prstGeom prst="rect">
            <a:avLst/>
          </a:prstGeom>
        </p:spPr>
      </p:pic>
      <p:sp>
        <p:nvSpPr>
          <p:cNvPr id="86" name="Arc 85">
            <a:extLst>
              <a:ext uri="{FF2B5EF4-FFF2-40B4-BE49-F238E27FC236}">
                <a16:creationId xmlns:a16="http://schemas.microsoft.com/office/drawing/2014/main" id="{313B8CBF-DF2A-448F-74D2-93451F34DFA1}"/>
              </a:ext>
            </a:extLst>
          </p:cNvPr>
          <p:cNvSpPr/>
          <p:nvPr/>
        </p:nvSpPr>
        <p:spPr bwMode="auto">
          <a:xfrm rot="2040326">
            <a:off x="9382800" y="1880359"/>
            <a:ext cx="1063596" cy="980403"/>
          </a:xfrm>
          <a:prstGeom prst="arc">
            <a:avLst>
              <a:gd name="adj1" fmla="val 10802221"/>
              <a:gd name="adj2" fmla="val 0"/>
            </a:avLst>
          </a:prstGeom>
          <a:noFill/>
          <a:ln w="76200" cap="rnd" cmpd="sng" algn="ctr">
            <a:solidFill>
              <a:srgbClr val="17669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75A5BB17-DDC5-CD6F-6DC0-C7E586BC6A8D}"/>
              </a:ext>
            </a:extLst>
          </p:cNvPr>
          <p:cNvSpPr/>
          <p:nvPr/>
        </p:nvSpPr>
        <p:spPr>
          <a:xfrm>
            <a:off x="4372887" y="4915236"/>
            <a:ext cx="723888" cy="416153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38F7CDEF-239E-90B3-7E78-48A70E3799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623" y="4937897"/>
            <a:ext cx="239713" cy="30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828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35" grpId="0" animBg="1"/>
      <p:bldP spid="32" grpId="0" animBg="1"/>
      <p:bldP spid="33" grpId="0" animBg="1"/>
      <p:bldP spid="31" grpId="0" animBg="1"/>
      <p:bldP spid="20" grpId="0" animBg="1"/>
      <p:bldP spid="24" grpId="0" animBg="1"/>
      <p:bldP spid="28" grpId="0" animBg="1"/>
      <p:bldP spid="52" grpId="0" animBg="1"/>
      <p:bldP spid="53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C69A5C-B071-939C-7788-E467F98391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54C527-0984-48E6-8C32-393FB98A5E1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FB883D-3234-A14A-1696-92113A7ACB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949" r="6899"/>
          <a:stretch/>
        </p:blipFill>
        <p:spPr>
          <a:xfrm>
            <a:off x="5097822" y="1418403"/>
            <a:ext cx="3455569" cy="5059623"/>
          </a:xfrm>
          <a:prstGeom prst="rect">
            <a:avLst/>
          </a:prstGeom>
        </p:spPr>
      </p:pic>
      <p:sp>
        <p:nvSpPr>
          <p:cNvPr id="5" name="AutoShape 4" descr="All images">
            <a:extLst>
              <a:ext uri="{FF2B5EF4-FFF2-40B4-BE49-F238E27FC236}">
                <a16:creationId xmlns:a16="http://schemas.microsoft.com/office/drawing/2014/main" id="{3A17DF53-B601-89E4-4432-45767EFB642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10225" y="2741519"/>
            <a:ext cx="971550" cy="971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D6E4E0-323D-CEE4-2A59-CA0DC29D0468}"/>
              </a:ext>
            </a:extLst>
          </p:cNvPr>
          <p:cNvCxnSpPr/>
          <p:nvPr/>
        </p:nvCxnSpPr>
        <p:spPr bwMode="auto">
          <a:xfrm>
            <a:off x="8737368" y="725915"/>
            <a:ext cx="0" cy="6132085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B3561CD8-7C01-F146-7588-2DB69C38B59B}"/>
              </a:ext>
            </a:extLst>
          </p:cNvPr>
          <p:cNvSpPr txBox="1"/>
          <p:nvPr/>
        </p:nvSpPr>
        <p:spPr>
          <a:xfrm>
            <a:off x="5019444" y="883708"/>
            <a:ext cx="3612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Conscia Group </a:t>
            </a:r>
            <a:r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| European Network of Knowledg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29D45A-B9BE-E58E-2C46-0FF0967D9ED4}"/>
              </a:ext>
            </a:extLst>
          </p:cNvPr>
          <p:cNvCxnSpPr/>
          <p:nvPr/>
        </p:nvCxnSpPr>
        <p:spPr bwMode="auto">
          <a:xfrm>
            <a:off x="96365" y="2685834"/>
            <a:ext cx="4859317" cy="0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C747E7-BE93-0F16-61AF-218433B76B56}"/>
              </a:ext>
            </a:extLst>
          </p:cNvPr>
          <p:cNvCxnSpPr/>
          <p:nvPr/>
        </p:nvCxnSpPr>
        <p:spPr bwMode="auto">
          <a:xfrm>
            <a:off x="97643" y="725915"/>
            <a:ext cx="11963461" cy="0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DBAE96E2-9FD0-5BE9-B53F-366638FD5CD4}"/>
              </a:ext>
            </a:extLst>
          </p:cNvPr>
          <p:cNvSpPr txBox="1"/>
          <p:nvPr/>
        </p:nvSpPr>
        <p:spPr>
          <a:xfrm>
            <a:off x="187052" y="258342"/>
            <a:ext cx="762074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Conscia</a:t>
            </a:r>
            <a:r>
              <a:rPr kumimoji="0" lang="en-US" sz="2000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 | Secure IT Infrastructure </a:t>
            </a:r>
            <a:r>
              <a:rPr kumimoji="0" lang="en-US" sz="2000" u="none" strike="noStrike" kern="1200" cap="none" spc="0" normalizeH="0" baseline="0" noProof="0" err="1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voor</a:t>
            </a:r>
            <a:r>
              <a:rPr kumimoji="0" lang="en-US" sz="2000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 24/7 </a:t>
            </a:r>
            <a:r>
              <a:rPr kumimoji="0" lang="en-US" sz="2000" u="none" strike="noStrike" kern="1200" cap="none" spc="0" normalizeH="0" baseline="0" noProof="0" err="1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omgevingen</a:t>
            </a:r>
            <a:endParaRPr kumimoji="0" lang="en-US" sz="1800" u="none" strike="noStrike" kern="1200" cap="none" spc="0" normalizeH="0" baseline="0" noProof="0">
              <a:ln>
                <a:noFill/>
              </a:ln>
              <a:solidFill>
                <a:srgbClr val="218BD7"/>
              </a:solidFill>
              <a:effectLst/>
              <a:uLnTx/>
              <a:uFillTx/>
              <a:latin typeface="IBM Plex Sans" panose="020B0503050203000203" pitchFamily="34" charset="0"/>
            </a:endParaRPr>
          </a:p>
        </p:txBody>
      </p:sp>
      <p:cxnSp>
        <p:nvCxnSpPr>
          <p:cNvPr id="1027" name="Straight Connector 1026">
            <a:extLst>
              <a:ext uri="{FF2B5EF4-FFF2-40B4-BE49-F238E27FC236}">
                <a16:creationId xmlns:a16="http://schemas.microsoft.com/office/drawing/2014/main" id="{BBC07836-F7A0-534E-43CD-318E7D93DE81}"/>
              </a:ext>
            </a:extLst>
          </p:cNvPr>
          <p:cNvCxnSpPr/>
          <p:nvPr/>
        </p:nvCxnSpPr>
        <p:spPr bwMode="auto">
          <a:xfrm>
            <a:off x="4956960" y="725915"/>
            <a:ext cx="0" cy="6132085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52" name="TextBox 1051">
            <a:extLst>
              <a:ext uri="{FF2B5EF4-FFF2-40B4-BE49-F238E27FC236}">
                <a16:creationId xmlns:a16="http://schemas.microsoft.com/office/drawing/2014/main" id="{7FAC93B5-3C0F-4005-15F6-BC1CF5B863B2}"/>
              </a:ext>
            </a:extLst>
          </p:cNvPr>
          <p:cNvSpPr txBox="1"/>
          <p:nvPr/>
        </p:nvSpPr>
        <p:spPr>
          <a:xfrm>
            <a:off x="238619" y="877082"/>
            <a:ext cx="361232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Conscia Netherlands </a:t>
            </a:r>
            <a:r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| Since 197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" panose="020B0503050203000203" pitchFamily="34" charset="0"/>
              </a:rPr>
              <a:t>Portfolio</a:t>
            </a:r>
          </a:p>
        </p:txBody>
      </p:sp>
      <p:sp>
        <p:nvSpPr>
          <p:cNvPr id="1055" name="Rectangle: Rounded Corners 1054">
            <a:extLst>
              <a:ext uri="{FF2B5EF4-FFF2-40B4-BE49-F238E27FC236}">
                <a16:creationId xmlns:a16="http://schemas.microsoft.com/office/drawing/2014/main" id="{C6C14D0A-A22A-8CC5-B7E5-F974B961C330}"/>
              </a:ext>
            </a:extLst>
          </p:cNvPr>
          <p:cNvSpPr/>
          <p:nvPr/>
        </p:nvSpPr>
        <p:spPr>
          <a:xfrm>
            <a:off x="238619" y="2214859"/>
            <a:ext cx="1380571" cy="30565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Networking</a:t>
            </a:r>
            <a:endParaRPr lang="nl-NL" sz="1200"/>
          </a:p>
        </p:txBody>
      </p:sp>
      <p:sp>
        <p:nvSpPr>
          <p:cNvPr id="1056" name="Rectangle: Rounded Corners 1055">
            <a:extLst>
              <a:ext uri="{FF2B5EF4-FFF2-40B4-BE49-F238E27FC236}">
                <a16:creationId xmlns:a16="http://schemas.microsoft.com/office/drawing/2014/main" id="{19042AE1-CFDB-562B-FE6E-29904853E4F1}"/>
              </a:ext>
            </a:extLst>
          </p:cNvPr>
          <p:cNvSpPr/>
          <p:nvPr/>
        </p:nvSpPr>
        <p:spPr>
          <a:xfrm>
            <a:off x="1772223" y="2214859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Hybrid Cloud</a:t>
            </a:r>
            <a:endParaRPr lang="nl-NL" sz="1200"/>
          </a:p>
        </p:txBody>
      </p:sp>
      <p:sp>
        <p:nvSpPr>
          <p:cNvPr id="1057" name="Rectangle: Rounded Corners 1056">
            <a:extLst>
              <a:ext uri="{FF2B5EF4-FFF2-40B4-BE49-F238E27FC236}">
                <a16:creationId xmlns:a16="http://schemas.microsoft.com/office/drawing/2014/main" id="{0A874EED-7D9F-ED70-BBC5-EF24EBA349B2}"/>
              </a:ext>
            </a:extLst>
          </p:cNvPr>
          <p:cNvSpPr/>
          <p:nvPr/>
        </p:nvSpPr>
        <p:spPr>
          <a:xfrm>
            <a:off x="3305825" y="2214859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yber Security</a:t>
            </a:r>
            <a:endParaRPr lang="nl-NL" sz="1200"/>
          </a:p>
        </p:txBody>
      </p:sp>
      <p:sp>
        <p:nvSpPr>
          <p:cNvPr id="1059" name="Rectangle: Rounded Corners 1058">
            <a:extLst>
              <a:ext uri="{FF2B5EF4-FFF2-40B4-BE49-F238E27FC236}">
                <a16:creationId xmlns:a16="http://schemas.microsoft.com/office/drawing/2014/main" id="{A32BA263-9EAC-B517-4165-526A3DA57A3C}"/>
              </a:ext>
            </a:extLst>
          </p:cNvPr>
          <p:cNvSpPr/>
          <p:nvPr/>
        </p:nvSpPr>
        <p:spPr>
          <a:xfrm>
            <a:off x="238619" y="1826545"/>
            <a:ext cx="4447777" cy="30565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onsultancy | Advisory</a:t>
            </a:r>
            <a:endParaRPr lang="nl-NL" sz="1200"/>
          </a:p>
        </p:txBody>
      </p:sp>
      <p:sp>
        <p:nvSpPr>
          <p:cNvPr id="1060" name="Rectangle: Rounded Corners 1059">
            <a:extLst>
              <a:ext uri="{FF2B5EF4-FFF2-40B4-BE49-F238E27FC236}">
                <a16:creationId xmlns:a16="http://schemas.microsoft.com/office/drawing/2014/main" id="{38E9BD23-4A1C-2C40-BB1D-9B92D533EE15}"/>
              </a:ext>
            </a:extLst>
          </p:cNvPr>
          <p:cNvSpPr/>
          <p:nvPr/>
        </p:nvSpPr>
        <p:spPr>
          <a:xfrm>
            <a:off x="238619" y="1453428"/>
            <a:ext cx="4447777" cy="305654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Managed Services &amp; Support</a:t>
            </a:r>
            <a:endParaRPr lang="nl-NL" sz="12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638F23-96A8-60E2-A60F-A5536E944AB9}"/>
              </a:ext>
            </a:extLst>
          </p:cNvPr>
          <p:cNvSpPr txBox="1"/>
          <p:nvPr/>
        </p:nvSpPr>
        <p:spPr>
          <a:xfrm>
            <a:off x="9054020" y="4805068"/>
            <a:ext cx="1301959" cy="16729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>
                <a:solidFill>
                  <a:srgbClr val="218BD7"/>
                </a:solidFill>
                <a:latin typeface="IBM Plex Sans" panose="020B0503050203000203" pitchFamily="34" charset="0"/>
              </a:rPr>
              <a:t>Group</a:t>
            </a:r>
          </a:p>
          <a:p>
            <a:pPr>
              <a:lnSpc>
                <a:spcPct val="150000"/>
              </a:lnSpc>
            </a:pPr>
            <a:r>
              <a:rPr lang="en-US" sz="1400">
                <a:latin typeface="IBM Plex Sans" panose="020B0503050203000203" pitchFamily="34" charset="0"/>
              </a:rPr>
              <a:t>1000 </a:t>
            </a:r>
            <a:r>
              <a:rPr lang="en-US" sz="1400" err="1">
                <a:latin typeface="IBM Plex Sans" panose="020B0503050203000203" pitchFamily="34" charset="0"/>
              </a:rPr>
              <a:t>mensen</a:t>
            </a:r>
            <a:endParaRPr lang="en-US" sz="1400">
              <a:latin typeface="IBM Plex Sans" panose="020B050305020300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>
                <a:latin typeface="IBM Plex Sans" panose="020B0503050203000203" pitchFamily="34" charset="0"/>
              </a:rPr>
              <a:t>6 </a:t>
            </a:r>
            <a:r>
              <a:rPr lang="en-US" sz="1400" err="1">
                <a:latin typeface="IBM Plex Sans" panose="020B0503050203000203" pitchFamily="34" charset="0"/>
              </a:rPr>
              <a:t>landen</a:t>
            </a:r>
            <a:endParaRPr lang="en-US" sz="1400">
              <a:latin typeface="IBM Plex Sans" panose="020B050305020300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>
                <a:latin typeface="IBM Plex Sans" panose="020B0503050203000203" pitchFamily="34" charset="0"/>
              </a:rPr>
              <a:t>21 </a:t>
            </a:r>
            <a:r>
              <a:rPr lang="en-US" sz="1400" err="1">
                <a:latin typeface="IBM Plex Sans" panose="020B0503050203000203" pitchFamily="34" charset="0"/>
              </a:rPr>
              <a:t>steden</a:t>
            </a:r>
            <a:endParaRPr lang="en-US" sz="1400">
              <a:latin typeface="IBM Plex Sans" panose="020B050305020300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>
                <a:latin typeface="IBM Plex Sans" panose="020B0503050203000203" pitchFamily="34" charset="0"/>
              </a:rPr>
              <a:t>4 datacent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F42301-2C36-6E0B-7964-9A2D3BD2A901}"/>
              </a:ext>
            </a:extLst>
          </p:cNvPr>
          <p:cNvSpPr txBox="1"/>
          <p:nvPr/>
        </p:nvSpPr>
        <p:spPr>
          <a:xfrm>
            <a:off x="10378885" y="4805068"/>
            <a:ext cx="1478290" cy="167295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dirty="0">
                <a:latin typeface="IBM Plex Sans" panose="020B0503050203000203" pitchFamily="34" charset="0"/>
              </a:rPr>
              <a:t>    </a:t>
            </a:r>
            <a:r>
              <a:rPr lang="en-US" sz="1400" b="1" dirty="0">
                <a:solidFill>
                  <a:srgbClr val="218BD7"/>
                </a:solidFill>
                <a:latin typeface="IBM Plex Sans" panose="020B0503050203000203" pitchFamily="34" charset="0"/>
              </a:rPr>
              <a:t>Nederland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atin typeface="IBM Plex Sans" panose="020B0503050203000203" pitchFamily="34" charset="0"/>
              </a:rPr>
              <a:t>|   230 </a:t>
            </a:r>
            <a:r>
              <a:rPr lang="en-US" sz="1400" dirty="0" err="1">
                <a:latin typeface="IBM Plex Sans" panose="020B0503050203000203" pitchFamily="34" charset="0"/>
              </a:rPr>
              <a:t>mensen</a:t>
            </a:r>
            <a:endParaRPr lang="en-US" sz="1400" dirty="0">
              <a:latin typeface="IBM Plex Sans" panose="020B050305020300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latin typeface="IBM Plex Sans" panose="020B0503050203000203" pitchFamily="34" charset="0"/>
              </a:rPr>
              <a:t>|   1 land</a:t>
            </a:r>
          </a:p>
          <a:p>
            <a:pPr>
              <a:lnSpc>
                <a:spcPct val="150000"/>
              </a:lnSpc>
            </a:pPr>
            <a:r>
              <a:rPr lang="en-US" sz="1400" dirty="0">
                <a:latin typeface="IBM Plex Sans" panose="020B0503050203000203" pitchFamily="34" charset="0"/>
              </a:rPr>
              <a:t>|   3 </a:t>
            </a:r>
            <a:r>
              <a:rPr lang="en-US" sz="1400" dirty="0" err="1">
                <a:latin typeface="IBM Plex Sans" panose="020B0503050203000203" pitchFamily="34" charset="0"/>
              </a:rPr>
              <a:t>steden</a:t>
            </a:r>
            <a:endParaRPr lang="en-US" sz="1400" dirty="0">
              <a:latin typeface="IBM Plex Sans" panose="020B050305020300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400" dirty="0">
                <a:latin typeface="IBM Plex Sans" panose="020B0503050203000203" pitchFamily="34" charset="0"/>
              </a:rPr>
              <a:t>|   2 datacenter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3F8BB15-9D52-71B1-8510-7F2A37DB6B12}"/>
              </a:ext>
            </a:extLst>
          </p:cNvPr>
          <p:cNvSpPr/>
          <p:nvPr/>
        </p:nvSpPr>
        <p:spPr>
          <a:xfrm>
            <a:off x="3305824" y="2905846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OC/MDR</a:t>
            </a:r>
            <a:endParaRPr lang="nl-NL" sz="120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16B68CF-D919-5560-AB03-CDFFBFE62524}"/>
              </a:ext>
            </a:extLst>
          </p:cNvPr>
          <p:cNvSpPr/>
          <p:nvPr/>
        </p:nvSpPr>
        <p:spPr>
          <a:xfrm>
            <a:off x="3306123" y="3322160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Incident Response</a:t>
            </a:r>
            <a:endParaRPr lang="nl-NL" sz="120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F73A9ED0-2C8F-8EBB-956F-ECA35DCBC4BC}"/>
              </a:ext>
            </a:extLst>
          </p:cNvPr>
          <p:cNvSpPr/>
          <p:nvPr/>
        </p:nvSpPr>
        <p:spPr>
          <a:xfrm>
            <a:off x="3315266" y="3742454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Awareness</a:t>
            </a:r>
            <a:endParaRPr lang="nl-NL" sz="1200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35904B1F-BD78-F27C-ADBE-428356B0A8AC}"/>
              </a:ext>
            </a:extLst>
          </p:cNvPr>
          <p:cNvSpPr/>
          <p:nvPr/>
        </p:nvSpPr>
        <p:spPr>
          <a:xfrm>
            <a:off x="3315266" y="4164435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IS Assessments</a:t>
            </a:r>
            <a:endParaRPr lang="nl-NL" sz="1200"/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B2D9C48E-B328-A789-499F-3CD8CF705291}"/>
              </a:ext>
            </a:extLst>
          </p:cNvPr>
          <p:cNvSpPr/>
          <p:nvPr/>
        </p:nvSpPr>
        <p:spPr>
          <a:xfrm>
            <a:off x="3310429" y="4577277"/>
            <a:ext cx="1380571" cy="305654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Brand Protection</a:t>
            </a:r>
            <a:endParaRPr lang="nl-NL" sz="1200"/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3E7D785B-654C-D66C-B111-631D5316893B}"/>
              </a:ext>
            </a:extLst>
          </p:cNvPr>
          <p:cNvSpPr/>
          <p:nvPr/>
        </p:nvSpPr>
        <p:spPr>
          <a:xfrm>
            <a:off x="1756503" y="2905846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Virtual DC </a:t>
            </a:r>
            <a:r>
              <a:rPr lang="en-US" sz="1200" err="1"/>
              <a:t>aaS</a:t>
            </a:r>
            <a:endParaRPr lang="nl-NL" sz="120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D1A30A5-0500-40F7-3B30-E6108D7EAF47}"/>
              </a:ext>
            </a:extLst>
          </p:cNvPr>
          <p:cNvSpPr/>
          <p:nvPr/>
        </p:nvSpPr>
        <p:spPr>
          <a:xfrm>
            <a:off x="1756802" y="3322160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Backup </a:t>
            </a:r>
            <a:r>
              <a:rPr lang="en-US" sz="1200" err="1"/>
              <a:t>aaS</a:t>
            </a:r>
            <a:endParaRPr lang="nl-NL" sz="1200"/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D2936AD-1409-69A0-A761-B14F205C440F}"/>
              </a:ext>
            </a:extLst>
          </p:cNvPr>
          <p:cNvSpPr/>
          <p:nvPr/>
        </p:nvSpPr>
        <p:spPr>
          <a:xfrm>
            <a:off x="1765945" y="3742454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Azure / CSP T1</a:t>
            </a:r>
            <a:endParaRPr lang="nl-NL" sz="1200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FDF6D1DC-3E7F-C991-2BD1-83820E72C42A}"/>
              </a:ext>
            </a:extLst>
          </p:cNvPr>
          <p:cNvSpPr/>
          <p:nvPr/>
        </p:nvSpPr>
        <p:spPr>
          <a:xfrm>
            <a:off x="1765945" y="4164435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err="1"/>
              <a:t>Onprem</a:t>
            </a:r>
            <a:r>
              <a:rPr lang="en-US" sz="1200"/>
              <a:t> SDDC/CI</a:t>
            </a:r>
            <a:endParaRPr lang="nl-NL" sz="1200"/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D2BFB3E-5A88-24E5-F64E-D915C7B25DC5}"/>
              </a:ext>
            </a:extLst>
          </p:cNvPr>
          <p:cNvSpPr/>
          <p:nvPr/>
        </p:nvSpPr>
        <p:spPr>
          <a:xfrm>
            <a:off x="1765944" y="4577277"/>
            <a:ext cx="1380571" cy="305654"/>
          </a:xfrm>
          <a:prstGeom prst="roundRect">
            <a:avLst/>
          </a:prstGeom>
          <a:solidFill>
            <a:srgbClr val="2FC0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DR </a:t>
            </a:r>
            <a:r>
              <a:rPr lang="en-US" sz="1200" err="1"/>
              <a:t>aaS</a:t>
            </a:r>
            <a:endParaRPr lang="nl-NL" sz="1200"/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1529FE90-EE9B-A93C-9D47-9B64F15CE4AF}"/>
              </a:ext>
            </a:extLst>
          </p:cNvPr>
          <p:cNvSpPr/>
          <p:nvPr/>
        </p:nvSpPr>
        <p:spPr>
          <a:xfrm>
            <a:off x="235071" y="2905846"/>
            <a:ext cx="1380571" cy="305654"/>
          </a:xfrm>
          <a:prstGeom prst="round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Enterprise (W)LAN</a:t>
            </a:r>
            <a:endParaRPr lang="nl-NL" sz="1200"/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54889FEE-05AD-C7FC-C01D-8318633EAE0C}"/>
              </a:ext>
            </a:extLst>
          </p:cNvPr>
          <p:cNvSpPr/>
          <p:nvPr/>
        </p:nvSpPr>
        <p:spPr>
          <a:xfrm>
            <a:off x="229436" y="3306933"/>
            <a:ext cx="1380571" cy="305654"/>
          </a:xfrm>
          <a:prstGeom prst="round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SASE / WAN</a:t>
            </a:r>
            <a:endParaRPr lang="nl-NL" sz="1200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0307F38C-D268-62E9-80DC-7241F8425302}"/>
              </a:ext>
            </a:extLst>
          </p:cNvPr>
          <p:cNvSpPr/>
          <p:nvPr/>
        </p:nvSpPr>
        <p:spPr>
          <a:xfrm>
            <a:off x="235556" y="3742454"/>
            <a:ext cx="1380571" cy="305654"/>
          </a:xfrm>
          <a:prstGeom prst="round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Network Security</a:t>
            </a:r>
            <a:endParaRPr lang="nl-NL" sz="120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E1C250E-F329-8CF8-91F2-81A5A6F1AC02}"/>
              </a:ext>
            </a:extLst>
          </p:cNvPr>
          <p:cNvSpPr/>
          <p:nvPr/>
        </p:nvSpPr>
        <p:spPr>
          <a:xfrm>
            <a:off x="231506" y="4160607"/>
            <a:ext cx="1380571" cy="305654"/>
          </a:xfrm>
          <a:prstGeom prst="round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Cloud Networking</a:t>
            </a:r>
            <a:endParaRPr lang="nl-NL" sz="1200"/>
          </a:p>
        </p:txBody>
      </p:sp>
      <p:sp>
        <p:nvSpPr>
          <p:cNvPr id="1024" name="Rectangle: Rounded Corners 1023">
            <a:extLst>
              <a:ext uri="{FF2B5EF4-FFF2-40B4-BE49-F238E27FC236}">
                <a16:creationId xmlns:a16="http://schemas.microsoft.com/office/drawing/2014/main" id="{7358BDE8-C634-A3F6-A81C-F7D43C5AE9E6}"/>
              </a:ext>
            </a:extLst>
          </p:cNvPr>
          <p:cNvSpPr/>
          <p:nvPr/>
        </p:nvSpPr>
        <p:spPr>
          <a:xfrm>
            <a:off x="219336" y="4577277"/>
            <a:ext cx="1380571" cy="305654"/>
          </a:xfrm>
          <a:prstGeom prst="roundRect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Network Services</a:t>
            </a:r>
            <a:endParaRPr lang="nl-NL" sz="1200"/>
          </a:p>
        </p:txBody>
      </p:sp>
      <p:cxnSp>
        <p:nvCxnSpPr>
          <p:cNvPr id="1026" name="Straight Connector 1025">
            <a:extLst>
              <a:ext uri="{FF2B5EF4-FFF2-40B4-BE49-F238E27FC236}">
                <a16:creationId xmlns:a16="http://schemas.microsoft.com/office/drawing/2014/main" id="{7608AEDF-D841-20BD-2F36-B45B6131C796}"/>
              </a:ext>
            </a:extLst>
          </p:cNvPr>
          <p:cNvCxnSpPr/>
          <p:nvPr/>
        </p:nvCxnSpPr>
        <p:spPr bwMode="auto">
          <a:xfrm>
            <a:off x="96364" y="5078514"/>
            <a:ext cx="4859317" cy="0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28" name="Straight Connector 1027">
            <a:extLst>
              <a:ext uri="{FF2B5EF4-FFF2-40B4-BE49-F238E27FC236}">
                <a16:creationId xmlns:a16="http://schemas.microsoft.com/office/drawing/2014/main" id="{22977351-2F23-5CCD-E9CE-BAD10AE393BA}"/>
              </a:ext>
            </a:extLst>
          </p:cNvPr>
          <p:cNvCxnSpPr/>
          <p:nvPr/>
        </p:nvCxnSpPr>
        <p:spPr bwMode="auto">
          <a:xfrm>
            <a:off x="8788164" y="3791957"/>
            <a:ext cx="3303102" cy="0"/>
          </a:xfrm>
          <a:prstGeom prst="line">
            <a:avLst/>
          </a:prstGeom>
          <a:solidFill>
            <a:srgbClr val="8A2E4F">
              <a:alpha val="64999"/>
            </a:srgbClr>
          </a:solidFill>
          <a:ln w="635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030" name="Picture 1029">
            <a:extLst>
              <a:ext uri="{FF2B5EF4-FFF2-40B4-BE49-F238E27FC236}">
                <a16:creationId xmlns:a16="http://schemas.microsoft.com/office/drawing/2014/main" id="{8270E44B-0C94-F4A6-385E-697FAB3BE5A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4768" y="5106235"/>
            <a:ext cx="3682921" cy="170190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5845064-852B-53F5-D398-3780D4B8C9A4}"/>
              </a:ext>
            </a:extLst>
          </p:cNvPr>
          <p:cNvSpPr txBox="1"/>
          <p:nvPr/>
        </p:nvSpPr>
        <p:spPr>
          <a:xfrm>
            <a:off x="9054020" y="1677747"/>
            <a:ext cx="36123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Conscia </a:t>
            </a:r>
            <a:r>
              <a:rPr kumimoji="0" lang="en-US" sz="1200" b="1" u="none" strike="noStrike" kern="1200" cap="none" spc="0" normalizeH="0" baseline="0" noProof="0" err="1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Principes</a:t>
            </a:r>
            <a:r>
              <a:rPr kumimoji="0" lang="en-US" sz="1200" b="1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 </a:t>
            </a:r>
            <a:r>
              <a:rPr kumimoji="0" lang="en-US" sz="1200" u="none" strike="noStrike" kern="1200" cap="none" spc="0" normalizeH="0" baseline="0" noProof="0">
                <a:ln>
                  <a:noFill/>
                </a:ln>
                <a:solidFill>
                  <a:srgbClr val="218BD7"/>
                </a:solidFill>
                <a:effectLst/>
                <a:uLnTx/>
                <a:uFillTx/>
                <a:latin typeface="IBM Plex Sans" panose="020B0503050203000203" pitchFamily="34" charset="0"/>
              </a:rPr>
              <a:t>| Als basi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90D3B0-E8E2-4ACD-F92E-E500174E9003}"/>
              </a:ext>
            </a:extLst>
          </p:cNvPr>
          <p:cNvSpPr txBox="1"/>
          <p:nvPr/>
        </p:nvSpPr>
        <p:spPr>
          <a:xfrm>
            <a:off x="8666503" y="1921196"/>
            <a:ext cx="3424763" cy="13497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IBM Plex Sans" panose="020B0503050203000203" pitchFamily="34" charset="0"/>
              </a:rPr>
              <a:t>Trusted partner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IBM Plex Sans" panose="020B0503050203000203" pitchFamily="34" charset="0"/>
              </a:rPr>
              <a:t>Focus op </a:t>
            </a:r>
            <a:r>
              <a:rPr lang="en-US" sz="1400" err="1">
                <a:latin typeface="IBM Plex Sans" panose="020B0503050203000203" pitchFamily="34" charset="0"/>
              </a:rPr>
              <a:t>lange</a:t>
            </a:r>
            <a:r>
              <a:rPr lang="en-US" sz="1400">
                <a:latin typeface="IBM Plex Sans" panose="020B0503050203000203" pitchFamily="34" charset="0"/>
              </a:rPr>
              <a:t> termij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err="1">
                <a:latin typeface="IBM Plex Sans" panose="020B0503050203000203" pitchFamily="34" charset="0"/>
              </a:rPr>
              <a:t>Ontwikkelen</a:t>
            </a:r>
            <a:r>
              <a:rPr lang="en-US" sz="1400">
                <a:latin typeface="IBM Plex Sans" panose="020B0503050203000203" pitchFamily="34" charset="0"/>
              </a:rPr>
              <a:t>/ Relevant zij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>
                <a:latin typeface="IBM Plex Sans" panose="020B0503050203000203" pitchFamily="34" charset="0"/>
              </a:rPr>
              <a:t>Zorg </a:t>
            </a:r>
            <a:r>
              <a:rPr lang="en-US" sz="1400" err="1">
                <a:latin typeface="IBM Plex Sans" panose="020B0503050203000203" pitchFamily="34" charset="0"/>
              </a:rPr>
              <a:t>uit</a:t>
            </a:r>
            <a:r>
              <a:rPr lang="en-US" sz="1400">
                <a:latin typeface="IBM Plex Sans" panose="020B0503050203000203" pitchFamily="34" charset="0"/>
              </a:rPr>
              <a:t> </a:t>
            </a:r>
            <a:r>
              <a:rPr lang="en-US" sz="1400" err="1">
                <a:latin typeface="IBM Plex Sans" panose="020B0503050203000203" pitchFamily="34" charset="0"/>
              </a:rPr>
              <a:t>handen</a:t>
            </a:r>
            <a:r>
              <a:rPr lang="en-US" sz="1400">
                <a:latin typeface="IBM Plex Sans" panose="020B0503050203000203" pitchFamily="34" charset="0"/>
              </a:rPr>
              <a:t> nemen</a:t>
            </a:r>
            <a:endParaRPr lang="nl-NL" sz="140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1981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7C330164-C059-BD64-4B7F-DC73EC4A8D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0640" y="2178219"/>
            <a:ext cx="7396480" cy="2387600"/>
          </a:xfrm>
        </p:spPr>
        <p:txBody>
          <a:bodyPr/>
          <a:lstStyle/>
          <a:p>
            <a:r>
              <a:rPr lang="nl-NL"/>
              <a:t>Welkom!</a:t>
            </a:r>
          </a:p>
        </p:txBody>
      </p:sp>
      <p:sp>
        <p:nvSpPr>
          <p:cNvPr id="13" name="Ondertitel 12">
            <a:extLst>
              <a:ext uri="{FF2B5EF4-FFF2-40B4-BE49-F238E27FC236}">
                <a16:creationId xmlns:a16="http://schemas.microsoft.com/office/drawing/2014/main" id="{BB804D66-E3EF-A2B4-1629-47B58E3F5E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20520" y="4988508"/>
            <a:ext cx="7086600" cy="906455"/>
          </a:xfrm>
        </p:spPr>
        <p:txBody>
          <a:bodyPr>
            <a:normAutofit/>
          </a:bodyPr>
          <a:lstStyle/>
          <a:p>
            <a:r>
              <a:rPr lang="nl-NL" sz="1800"/>
              <a:t>Marcel Cappetti - CEO</a:t>
            </a:r>
          </a:p>
          <a:p>
            <a:r>
              <a:rPr lang="nl-NL" sz="1800"/>
              <a:t>Jeffrey den Oudsten - CTO</a:t>
            </a:r>
          </a:p>
        </p:txBody>
      </p:sp>
    </p:spTree>
    <p:extLst>
      <p:ext uri="{BB962C8B-B14F-4D97-AF65-F5344CB8AC3E}">
        <p14:creationId xmlns:p14="http://schemas.microsoft.com/office/powerpoint/2010/main" val="26003867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74685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853ECA84-4691-E2B4-9B61-8785762E80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8821" y="2248832"/>
            <a:ext cx="4839563" cy="4119093"/>
          </a:xfrm>
          <a:prstGeom prst="rect">
            <a:avLst/>
          </a:prstGeom>
        </p:spPr>
      </p:pic>
      <p:grpSp>
        <p:nvGrpSpPr>
          <p:cNvPr id="10" name="Groep 9">
            <a:extLst>
              <a:ext uri="{FF2B5EF4-FFF2-40B4-BE49-F238E27FC236}">
                <a16:creationId xmlns:a16="http://schemas.microsoft.com/office/drawing/2014/main" id="{CAEB4543-019B-7EFD-D9FD-8E6EABF4CC97}"/>
              </a:ext>
            </a:extLst>
          </p:cNvPr>
          <p:cNvGrpSpPr/>
          <p:nvPr/>
        </p:nvGrpSpPr>
        <p:grpSpPr>
          <a:xfrm>
            <a:off x="173616" y="68047"/>
            <a:ext cx="6869408" cy="5380200"/>
            <a:chOff x="-5991" y="342774"/>
            <a:chExt cx="8036444" cy="6294236"/>
          </a:xfrm>
        </p:grpSpPr>
        <p:pic>
          <p:nvPicPr>
            <p:cNvPr id="7170" name="Picture 2" descr="No alternative text description for this image">
              <a:extLst>
                <a:ext uri="{FF2B5EF4-FFF2-40B4-BE49-F238E27FC236}">
                  <a16:creationId xmlns:a16="http://schemas.microsoft.com/office/drawing/2014/main" id="{8B0E86AC-6011-FBBB-1394-CC89C26A0E4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61" b="5467"/>
            <a:stretch/>
          </p:blipFill>
          <p:spPr bwMode="auto">
            <a:xfrm>
              <a:off x="4689042" y="3042152"/>
              <a:ext cx="3341411" cy="35948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252905A-566C-5655-428E-E4CB871E0E8B}"/>
                </a:ext>
              </a:extLst>
            </p:cNvPr>
            <p:cNvSpPr/>
            <p:nvPr/>
          </p:nvSpPr>
          <p:spPr>
            <a:xfrm>
              <a:off x="4902570" y="6155479"/>
              <a:ext cx="2928268" cy="382772"/>
            </a:xfrm>
            <a:prstGeom prst="rect">
              <a:avLst/>
            </a:prstGeom>
            <a:solidFill>
              <a:srgbClr val="248DD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latin typeface="+mj-lt"/>
                </a:rPr>
                <a:t>5-9 </a:t>
              </a:r>
              <a:r>
                <a:rPr lang="en-US" sz="1400" err="1">
                  <a:latin typeface="+mj-lt"/>
                </a:rPr>
                <a:t>februari</a:t>
              </a:r>
              <a:r>
                <a:rPr lang="en-US" sz="1400">
                  <a:latin typeface="+mj-lt"/>
                </a:rPr>
                <a:t> 2024 - Amsterdam</a:t>
              </a:r>
              <a:endParaRPr lang="nl-NL" sz="1400">
                <a:latin typeface="+mj-lt"/>
              </a:endParaRPr>
            </a:p>
          </p:txBody>
        </p:sp>
        <p:pic>
          <p:nvPicPr>
            <p:cNvPr id="7176" name="Picture 8" descr="Gigamon at Cisco Live 2023 | gigamon.com">
              <a:extLst>
                <a:ext uri="{FF2B5EF4-FFF2-40B4-BE49-F238E27FC236}">
                  <a16:creationId xmlns:a16="http://schemas.microsoft.com/office/drawing/2014/main" id="{BED96A90-2A36-4A22-640C-43967B21363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4488" b="31257"/>
            <a:stretch/>
          </p:blipFill>
          <p:spPr bwMode="auto">
            <a:xfrm>
              <a:off x="6687125" y="3095639"/>
              <a:ext cx="1289841" cy="4418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B7C0D3A-FF87-1CB5-6F18-A3A7D2640DC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346160"/>
              <a:ext cx="4167963" cy="2563453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386A5869-F2A6-9A73-7892-FC1CACA2AB7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-5991" y="3042152"/>
              <a:ext cx="4557250" cy="2563452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BB9254D-51EC-9B39-CB38-C5E8969721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12527"/>
            <a:stretch/>
          </p:blipFill>
          <p:spPr>
            <a:xfrm>
              <a:off x="4320321" y="342774"/>
              <a:ext cx="3229495" cy="2548369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27746E6-AC30-686E-B3C3-65D7D685BB52}"/>
                </a:ext>
              </a:extLst>
            </p:cNvPr>
            <p:cNvSpPr/>
            <p:nvPr/>
          </p:nvSpPr>
          <p:spPr>
            <a:xfrm>
              <a:off x="4458029" y="2394978"/>
              <a:ext cx="2954079" cy="382772"/>
            </a:xfrm>
            <a:prstGeom prst="rect">
              <a:avLst/>
            </a:prstGeom>
            <a:solidFill>
              <a:srgbClr val="248DD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>
                  <a:latin typeface="+mj-lt"/>
                </a:rPr>
                <a:t>16 </a:t>
              </a:r>
              <a:r>
                <a:rPr lang="en-US" sz="1400" err="1">
                  <a:latin typeface="+mj-lt"/>
                </a:rPr>
                <a:t>november</a:t>
              </a:r>
              <a:r>
                <a:rPr lang="en-US" sz="1400">
                  <a:latin typeface="+mj-lt"/>
                </a:rPr>
                <a:t> 2023 - Rotterdam</a:t>
              </a:r>
              <a:endParaRPr lang="nl-NL" sz="1400">
                <a:latin typeface="+mj-lt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6AEB1880-8CD3-F9BA-9969-F2D7D23D3E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440" y="4566619"/>
            <a:ext cx="4062945" cy="2202345"/>
          </a:xfrm>
          <a:prstGeom prst="rect">
            <a:avLst/>
          </a:prstGeom>
        </p:spPr>
      </p:pic>
      <p:sp>
        <p:nvSpPr>
          <p:cNvPr id="4" name="Rectangle 5">
            <a:extLst>
              <a:ext uri="{FF2B5EF4-FFF2-40B4-BE49-F238E27FC236}">
                <a16:creationId xmlns:a16="http://schemas.microsoft.com/office/drawing/2014/main" id="{CC031450-F728-2688-2825-0768A750C060}"/>
              </a:ext>
            </a:extLst>
          </p:cNvPr>
          <p:cNvSpPr/>
          <p:nvPr/>
        </p:nvSpPr>
        <p:spPr>
          <a:xfrm>
            <a:off x="374905" y="6186043"/>
            <a:ext cx="3542486" cy="327187"/>
          </a:xfrm>
          <a:prstGeom prst="rect">
            <a:avLst/>
          </a:prstGeom>
          <a:solidFill>
            <a:srgbClr val="248DD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>
                <a:latin typeface="+mj-lt"/>
              </a:rPr>
              <a:t>22-25 April 2023 - Texas</a:t>
            </a:r>
            <a:endParaRPr lang="nl-NL" sz="14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27738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5F072C6-1E6C-5CF4-745D-DC1AE904DE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6872" y="3946254"/>
            <a:ext cx="7396480" cy="1211526"/>
          </a:xfrm>
        </p:spPr>
        <p:txBody>
          <a:bodyPr/>
          <a:lstStyle/>
          <a:p>
            <a:r>
              <a:rPr lang="nl-NL" sz="4400">
                <a:solidFill>
                  <a:srgbClr val="218BD7"/>
                </a:solidFill>
                <a:effectLst/>
                <a:latin typeface="IBM Plex Sans" panose="020B0503050203000203" pitchFamily="34" charset="0"/>
              </a:rPr>
              <a:t>Gast spreker</a:t>
            </a:r>
            <a:br>
              <a:rPr lang="nl-NL" sz="4400">
                <a:solidFill>
                  <a:srgbClr val="218BD7"/>
                </a:solidFill>
                <a:effectLst/>
                <a:latin typeface="IBM Plex Sans" panose="020B0503050203000203" pitchFamily="34" charset="0"/>
              </a:rPr>
            </a:br>
            <a:r>
              <a:rPr lang="nl-NL" sz="4400">
                <a:solidFill>
                  <a:srgbClr val="218BD7"/>
                </a:solidFill>
                <a:latin typeface="IBM Plex Sans" panose="020B0503050203000203" pitchFamily="34" charset="0"/>
              </a:rPr>
              <a:t>(r)evoluties</a:t>
            </a:r>
            <a:endParaRPr lang="nl-NL" sz="4400">
              <a:solidFill>
                <a:srgbClr val="218B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982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D5E11F9-4D05-2341-7E1D-FC088C2AFB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207710" cy="1325563"/>
          </a:xfrm>
        </p:spPr>
        <p:txBody>
          <a:bodyPr/>
          <a:lstStyle/>
          <a:p>
            <a:r>
              <a:rPr lang="en-US"/>
              <a:t>Dank aan klanten &amp; partners!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8033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2205B490-5239-AB70-90D2-086DB9EA6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Programma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0D697B12-F340-DB7C-4C63-94EB32DF7C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97285"/>
            <a:ext cx="7781818" cy="5460715"/>
          </a:xfrm>
        </p:spPr>
        <p:txBody>
          <a:bodyPr>
            <a:noAutofit/>
          </a:bodyPr>
          <a:lstStyle/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3.00 – 14.00</a:t>
            </a:r>
            <a:r>
              <a:rPr lang="nl-NL" sz="1600"/>
              <a:t>	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Ontvangst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4.00 – 14.30</a:t>
            </a:r>
            <a:r>
              <a:rPr lang="nl-NL" sz="1600"/>
              <a:t>	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Welkom door Marcel Cappetti, Algemeen Directeur, en</a:t>
            </a:r>
            <a:br>
              <a:rPr lang="nl-NL" sz="1600" u="none" strike="noStrike" kern="1200">
                <a:solidFill>
                  <a:srgbClr val="000000"/>
                </a:solidFill>
                <a:effectLst/>
              </a:rPr>
            </a:b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		Jeffrey den Oudsten, CTO | Trends &amp; ontwikkelingen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4.30 – 15.45</a:t>
            </a:r>
            <a:r>
              <a:rPr lang="nl-NL" sz="1600"/>
              <a:t>	</a:t>
            </a:r>
            <a:r>
              <a:rPr lang="nl-NL" sz="1600" b="1" u="none" strike="noStrike" kern="1200" err="1">
                <a:solidFill>
                  <a:srgbClr val="000000"/>
                </a:solidFill>
                <a:effectLst/>
              </a:rPr>
              <a:t>Inspire</a:t>
            </a:r>
            <a:r>
              <a:rPr lang="nl-NL" sz="1600" b="1" u="none" strike="noStrike" kern="1200">
                <a:solidFill>
                  <a:srgbClr val="000000"/>
                </a:solidFill>
                <a:effectLst/>
              </a:rPr>
              <a:t> </a:t>
            </a:r>
            <a:r>
              <a:rPr lang="nl-NL" sz="1600" b="1" u="none" strike="noStrike" kern="1200" err="1">
                <a:solidFill>
                  <a:srgbClr val="000000"/>
                </a:solidFill>
                <a:effectLst/>
              </a:rPr>
              <a:t>Session</a:t>
            </a:r>
            <a:r>
              <a:rPr lang="nl-NL" sz="1600" b="1" u="none" strike="noStrike" kern="1200">
                <a:solidFill>
                  <a:srgbClr val="000000"/>
                </a:solidFill>
                <a:effectLst/>
              </a:rPr>
              <a:t> 1 &amp; 2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: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4472C4"/>
                </a:solidFill>
                <a:effectLst/>
              </a:rPr>
              <a:t>		</a:t>
            </a: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Networking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 door Rick van ’t Spijker, Lead Architect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4472C4"/>
                </a:solidFill>
                <a:effectLst/>
              </a:rPr>
              <a:t>		</a:t>
            </a:r>
            <a:r>
              <a:rPr lang="nl-NL" sz="1600" u="none" strike="noStrike" kern="1200" err="1">
                <a:solidFill>
                  <a:srgbClr val="218BD7"/>
                </a:solidFill>
                <a:effectLst/>
              </a:rPr>
              <a:t>Hybrid</a:t>
            </a: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 Cloud 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door Jory van Dam, CTO Cloud</a:t>
            </a:r>
            <a:r>
              <a:rPr lang="nl-NL" sz="1600"/>
              <a:t> </a:t>
            </a: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		</a:t>
            </a:r>
            <a:r>
              <a:rPr lang="nl-NL" sz="1200" i="1" u="none" strike="noStrike" kern="1200">
                <a:solidFill>
                  <a:srgbClr val="000000"/>
                </a:solidFill>
                <a:effectLst/>
              </a:rPr>
              <a:t>wissel spreker na 30 minuten / 15 min break</a:t>
            </a:r>
            <a:endParaRPr lang="nl-NL" sz="1200" i="1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5.45 – 16.15</a:t>
            </a:r>
            <a:r>
              <a:rPr lang="nl-NL" sz="1600"/>
              <a:t>	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Pauze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6.15 – 17.30</a:t>
            </a:r>
            <a:r>
              <a:rPr lang="nl-NL" sz="1600"/>
              <a:t>	</a:t>
            </a:r>
            <a:r>
              <a:rPr lang="nl-NL" sz="1600" b="1" u="none" strike="noStrike" kern="1200" err="1">
                <a:solidFill>
                  <a:srgbClr val="000000"/>
                </a:solidFill>
                <a:effectLst/>
              </a:rPr>
              <a:t>Inspire</a:t>
            </a:r>
            <a:r>
              <a:rPr lang="nl-NL" sz="1600" b="1" u="none" strike="noStrike" kern="1200">
                <a:solidFill>
                  <a:srgbClr val="000000"/>
                </a:solidFill>
                <a:effectLst/>
              </a:rPr>
              <a:t> </a:t>
            </a:r>
            <a:r>
              <a:rPr lang="nl-NL" sz="1600" b="1" u="none" strike="noStrike" kern="1200" err="1">
                <a:solidFill>
                  <a:srgbClr val="000000"/>
                </a:solidFill>
                <a:effectLst/>
              </a:rPr>
              <a:t>Session</a:t>
            </a:r>
            <a:r>
              <a:rPr lang="nl-NL" sz="1600" b="1" u="none" strike="noStrike" kern="1200">
                <a:solidFill>
                  <a:srgbClr val="000000"/>
                </a:solidFill>
                <a:effectLst/>
              </a:rPr>
              <a:t> 3 &amp; 4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: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u="none" strike="noStrike" kern="1200">
                <a:solidFill>
                  <a:srgbClr val="4472C4"/>
                </a:solidFill>
                <a:effectLst/>
              </a:rPr>
              <a:t>		</a:t>
            </a:r>
            <a:r>
              <a:rPr lang="en-US" sz="1600" u="none" strike="noStrike" kern="1200">
                <a:solidFill>
                  <a:srgbClr val="218BD7"/>
                </a:solidFill>
                <a:effectLst/>
              </a:rPr>
              <a:t>Cybersecurity</a:t>
            </a:r>
            <a:r>
              <a:rPr lang="en-US" sz="1600" u="none" strike="noStrike" kern="1200">
                <a:solidFill>
                  <a:srgbClr val="000000"/>
                </a:solidFill>
                <a:effectLst/>
              </a:rPr>
              <a:t> door Jan Bervar, Group Security Architect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u="none" strike="noStrike" kern="1200">
                <a:solidFill>
                  <a:srgbClr val="4472C4"/>
                </a:solidFill>
                <a:effectLst/>
              </a:rPr>
              <a:t>		</a:t>
            </a:r>
            <a:r>
              <a:rPr lang="en-US" sz="1600" u="none" strike="noStrike" kern="1200">
                <a:solidFill>
                  <a:srgbClr val="218BD7"/>
                </a:solidFill>
                <a:effectLst/>
              </a:rPr>
              <a:t>Managed Services </a:t>
            </a:r>
            <a:r>
              <a:rPr lang="en-US" sz="1600" u="none" strike="noStrike" kern="1200">
                <a:solidFill>
                  <a:srgbClr val="000000"/>
                </a:solidFill>
                <a:effectLst/>
              </a:rPr>
              <a:t>door Jos Schimmel, Sales &amp; Marketing 			Director, </a:t>
            </a:r>
            <a:r>
              <a:rPr lang="en-US" sz="1600" u="none" strike="noStrike" kern="1200" err="1">
                <a:solidFill>
                  <a:srgbClr val="000000"/>
                </a:solidFill>
                <a:effectLst/>
              </a:rPr>
              <a:t>en</a:t>
            </a:r>
            <a:r>
              <a:rPr lang="en-US" sz="1600" u="none" strike="noStrike" kern="1200">
                <a:solidFill>
                  <a:srgbClr val="000000"/>
                </a:solidFill>
                <a:effectLst/>
              </a:rPr>
              <a:t> Remko Kuyper, Managed Services Specialist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		</a:t>
            </a:r>
            <a:r>
              <a:rPr lang="nl-NL" sz="1200" i="1" u="none" strike="noStrike" kern="1200">
                <a:solidFill>
                  <a:srgbClr val="000000"/>
                </a:solidFill>
                <a:effectLst/>
              </a:rPr>
              <a:t>wissel spreker na 30 minuten / 15 min break</a:t>
            </a:r>
            <a:endParaRPr lang="nl-NL" sz="1200" i="1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7.30 – 18.00</a:t>
            </a:r>
            <a:r>
              <a:rPr lang="nl-NL" sz="1600"/>
              <a:t>	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Pauze</a:t>
            </a:r>
            <a:endParaRPr lang="nl-NL" sz="1600" u="none" strike="noStrike">
              <a:effectLst/>
            </a:endParaRPr>
          </a:p>
          <a:p>
            <a:pPr fontAlgn="base">
              <a:lnSpc>
                <a:spcPts val="2120"/>
              </a:lnSpc>
              <a:spcBef>
                <a:spcPts val="0"/>
              </a:spcBef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8.00 – 18.30</a:t>
            </a:r>
            <a:r>
              <a:rPr lang="nl-NL" sz="1600"/>
              <a:t>	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Afsluiting door Marcel Cappetti, Algemeen Directeur.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b="1" strike="noStrike" kern="1200">
                <a:effectLst/>
              </a:rPr>
              <a:t>		Gastspreker Mark Tuitert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. Olympisch kampioen schaatsen, 		</a:t>
            </a:r>
            <a:r>
              <a:rPr lang="nl-NL" sz="1600" u="none" strike="noStrike" kern="1200" err="1">
                <a:solidFill>
                  <a:srgbClr val="000000"/>
                </a:solidFill>
                <a:effectLst/>
              </a:rPr>
              <a:t>podcasthost</a:t>
            </a:r>
            <a:r>
              <a:rPr lang="nl-NL" sz="1600" u="none" strike="noStrike" kern="1200">
                <a:solidFill>
                  <a:srgbClr val="000000"/>
                </a:solidFill>
                <a:effectLst/>
              </a:rPr>
              <a:t> van DRIVE podcast, ondernemer, auteur, spreker.</a:t>
            </a:r>
            <a:endParaRPr lang="nl-NL" sz="1600" u="none" strike="noStrike">
              <a:effectLst/>
            </a:endParaRPr>
          </a:p>
          <a:p>
            <a:pPr marL="0" algn="l" rtl="0" eaLnBrk="1" fontAlgn="base" latinLnBrk="0" hangingPunct="1">
              <a:lnSpc>
                <a:spcPts val="212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1600" u="none" strike="noStrike" kern="1200">
                <a:solidFill>
                  <a:srgbClr val="218BD7"/>
                </a:solidFill>
                <a:effectLst/>
              </a:rPr>
              <a:t>18.30 – 20.00</a:t>
            </a:r>
            <a:r>
              <a:rPr lang="nl-NL" sz="1600"/>
              <a:t>	</a:t>
            </a:r>
            <a:r>
              <a:rPr lang="nl-NL" sz="1600" u="none" strike="noStrike" kern="1200" err="1">
                <a:solidFill>
                  <a:srgbClr val="000000"/>
                </a:solidFill>
                <a:effectLst/>
              </a:rPr>
              <a:t>Walking-dinner</a:t>
            </a:r>
            <a:endParaRPr lang="nl-NL" sz="1600" u="none" strike="noStrike">
              <a:effectLst/>
            </a:endParaRP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E36444F6-315C-05BA-A032-245A32A946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20018" y="4474396"/>
            <a:ext cx="3573789" cy="2383604"/>
          </a:xfrm>
          <a:prstGeom prst="rect">
            <a:avLst/>
          </a:prstGeom>
        </p:spPr>
      </p:pic>
      <p:pic>
        <p:nvPicPr>
          <p:cNvPr id="2" name="Picture 1029">
            <a:extLst>
              <a:ext uri="{FF2B5EF4-FFF2-40B4-BE49-F238E27FC236}">
                <a16:creationId xmlns:a16="http://schemas.microsoft.com/office/drawing/2014/main" id="{DFFE500D-6BEF-714E-170F-2EBE62803A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5452" y="2894375"/>
            <a:ext cx="3682921" cy="1701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2067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Soms moet je veranderen om jezelf te blijven. — Spreuktegeltje">
            <a:extLst>
              <a:ext uri="{FF2B5EF4-FFF2-40B4-BE49-F238E27FC236}">
                <a16:creationId xmlns:a16="http://schemas.microsoft.com/office/drawing/2014/main" id="{E3C59755-59F9-D853-52A7-C5C49C8871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6315" y="1596414"/>
            <a:ext cx="4585311" cy="458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4">
            <a:extLst>
              <a:ext uri="{FF2B5EF4-FFF2-40B4-BE49-F238E27FC236}">
                <a16:creationId xmlns:a16="http://schemas.microsoft.com/office/drawing/2014/main" id="{53F3C209-3859-468C-9460-2755BD525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70851"/>
            <a:ext cx="7207710" cy="1325563"/>
          </a:xfrm>
        </p:spPr>
        <p:txBody>
          <a:bodyPr/>
          <a:lstStyle/>
          <a:p>
            <a:r>
              <a:rPr lang="en-US" err="1">
                <a:solidFill>
                  <a:srgbClr val="028BEA"/>
                </a:solidFill>
              </a:rPr>
              <a:t>Verandering</a:t>
            </a:r>
            <a:r>
              <a:rPr lang="en-US">
                <a:solidFill>
                  <a:srgbClr val="218BD7"/>
                </a:solidFill>
              </a:rPr>
              <a:t> is </a:t>
            </a:r>
            <a:r>
              <a:rPr lang="en-US" err="1">
                <a:solidFill>
                  <a:srgbClr val="218BD7"/>
                </a:solidFill>
              </a:rPr>
              <a:t>noodzakelijk</a:t>
            </a:r>
            <a:r>
              <a:rPr lang="en-US">
                <a:solidFill>
                  <a:srgbClr val="218BD7"/>
                </a:solidFill>
              </a:rPr>
              <a:t>…</a:t>
            </a:r>
            <a:endParaRPr lang="nl-NL">
              <a:solidFill>
                <a:srgbClr val="218BD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2043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F5CF1F77-29A8-418D-B9EE-DE2846CB2B2B" descr="IMG_0512.jpg">
            <a:extLst>
              <a:ext uri="{FF2B5EF4-FFF2-40B4-BE49-F238E27FC236}">
                <a16:creationId xmlns:a16="http://schemas.microsoft.com/office/drawing/2014/main" id="{1A4358EF-D70A-24DC-782A-9E907F7818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79325" y="0"/>
            <a:ext cx="51434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4">
            <a:extLst>
              <a:ext uri="{FF2B5EF4-FFF2-40B4-BE49-F238E27FC236}">
                <a16:creationId xmlns:a16="http://schemas.microsoft.com/office/drawing/2014/main" id="{1DEA1FE9-F2E5-1C84-B142-C484930A4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0975" y="321646"/>
            <a:ext cx="7207710" cy="1325563"/>
          </a:xfrm>
        </p:spPr>
        <p:txBody>
          <a:bodyPr>
            <a:normAutofit/>
          </a:bodyPr>
          <a:lstStyle/>
          <a:p>
            <a:r>
              <a:rPr lang="en-US" sz="3200">
                <a:solidFill>
                  <a:srgbClr val="218BD7"/>
                </a:solidFill>
              </a:rPr>
              <a:t>… </a:t>
            </a:r>
            <a:r>
              <a:rPr lang="en-US" sz="3200" err="1">
                <a:solidFill>
                  <a:srgbClr val="218BD7"/>
                </a:solidFill>
              </a:rPr>
              <a:t>bij</a:t>
            </a:r>
            <a:r>
              <a:rPr lang="en-US" sz="3200">
                <a:solidFill>
                  <a:srgbClr val="218BD7"/>
                </a:solidFill>
              </a:rPr>
              <a:t> je </a:t>
            </a:r>
            <a:r>
              <a:rPr lang="en-US" sz="3200" err="1">
                <a:solidFill>
                  <a:srgbClr val="218BD7"/>
                </a:solidFill>
              </a:rPr>
              <a:t>principes</a:t>
            </a:r>
            <a:r>
              <a:rPr lang="en-US" sz="3200">
                <a:solidFill>
                  <a:srgbClr val="218BD7"/>
                </a:solidFill>
              </a:rPr>
              <a:t> </a:t>
            </a:r>
            <a:br>
              <a:rPr lang="en-US" sz="3200">
                <a:solidFill>
                  <a:srgbClr val="218BD7"/>
                </a:solidFill>
              </a:rPr>
            </a:br>
            <a:r>
              <a:rPr lang="en-US" sz="3200" err="1">
                <a:solidFill>
                  <a:srgbClr val="218BD7"/>
                </a:solidFill>
              </a:rPr>
              <a:t>blijven</a:t>
            </a:r>
            <a:r>
              <a:rPr lang="en-US" sz="3200">
                <a:solidFill>
                  <a:srgbClr val="218BD7"/>
                </a:solidFill>
              </a:rPr>
              <a:t> </a:t>
            </a:r>
            <a:r>
              <a:rPr lang="en-US" sz="3200" err="1">
                <a:solidFill>
                  <a:srgbClr val="218BD7"/>
                </a:solidFill>
              </a:rPr>
              <a:t>ook</a:t>
            </a:r>
            <a:r>
              <a:rPr lang="en-US" sz="3200">
                <a:solidFill>
                  <a:srgbClr val="218BD7"/>
                </a:solidFill>
              </a:rPr>
              <a:t>!</a:t>
            </a:r>
            <a:endParaRPr lang="nl-NL" sz="3200">
              <a:solidFill>
                <a:srgbClr val="218BD7"/>
              </a:solidFill>
            </a:endParaRPr>
          </a:p>
        </p:txBody>
      </p:sp>
      <p:pic>
        <p:nvPicPr>
          <p:cNvPr id="8" name="Picture 7" descr="A card on a table&#10;&#10;Description automatically generated">
            <a:extLst>
              <a:ext uri="{FF2B5EF4-FFF2-40B4-BE49-F238E27FC236}">
                <a16:creationId xmlns:a16="http://schemas.microsoft.com/office/drawing/2014/main" id="{08CE85C1-BFEE-F982-C04B-7D7B7DFC200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983" t="24907" r="3745" b="30000"/>
          <a:stretch/>
        </p:blipFill>
        <p:spPr>
          <a:xfrm>
            <a:off x="0" y="1968854"/>
            <a:ext cx="3943350" cy="416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189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4">
            <a:extLst>
              <a:ext uri="{FF2B5EF4-FFF2-40B4-BE49-F238E27FC236}">
                <a16:creationId xmlns:a16="http://schemas.microsoft.com/office/drawing/2014/main" id="{29360D90-9D50-EF37-64DF-227CDD63AE84}"/>
              </a:ext>
            </a:extLst>
          </p:cNvPr>
          <p:cNvSpPr txBox="1">
            <a:spLocks/>
          </p:cNvSpPr>
          <p:nvPr/>
        </p:nvSpPr>
        <p:spPr>
          <a:xfrm>
            <a:off x="8480778" y="5038724"/>
            <a:ext cx="3587044" cy="10572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(r)</a:t>
            </a:r>
            <a:r>
              <a:rPr lang="en-US" err="1">
                <a:solidFill>
                  <a:schemeClr val="bg1"/>
                </a:solidFill>
              </a:rPr>
              <a:t>evoluties</a:t>
            </a:r>
            <a:endParaRPr lang="nl-NL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729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Nijkerk Holding verhuurt kantoorruimte in Gouda - VastgoedBerichten">
            <a:extLst>
              <a:ext uri="{FF2B5EF4-FFF2-40B4-BE49-F238E27FC236}">
                <a16:creationId xmlns:a16="http://schemas.microsoft.com/office/drawing/2014/main" id="{432E5958-D248-D789-43A8-F3F6C48E4CCC}"/>
              </a:ext>
            </a:extLst>
          </p:cNvPr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07" r="14237" b="1"/>
          <a:stretch/>
        </p:blipFill>
        <p:spPr bwMode="auto">
          <a:xfrm>
            <a:off x="7794519" y="3506112"/>
            <a:ext cx="4397481" cy="3351888"/>
          </a:xfrm>
          <a:custGeom>
            <a:avLst/>
            <a:gdLst/>
            <a:ahLst/>
            <a:cxnLst/>
            <a:rect l="l" t="t" r="r" b="b"/>
            <a:pathLst>
              <a:path w="4397481" h="3351888">
                <a:moveTo>
                  <a:pt x="0" y="0"/>
                </a:moveTo>
                <a:lnTo>
                  <a:pt x="4397481" y="0"/>
                </a:lnTo>
                <a:lnTo>
                  <a:pt x="4397481" y="3351888"/>
                </a:lnTo>
                <a:lnTo>
                  <a:pt x="1552363" y="335188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Supervisie UNESCO Van Nelle Fabriek » Broekbakema">
            <a:extLst>
              <a:ext uri="{FF2B5EF4-FFF2-40B4-BE49-F238E27FC236}">
                <a16:creationId xmlns:a16="http://schemas.microsoft.com/office/drawing/2014/main" id="{522B7664-5B92-3BEA-1D6A-F193EA7722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05" r="8532"/>
          <a:stretch/>
        </p:blipFill>
        <p:spPr bwMode="auto">
          <a:xfrm>
            <a:off x="20" y="10"/>
            <a:ext cx="9154673" cy="6863475"/>
          </a:xfrm>
          <a:custGeom>
            <a:avLst/>
            <a:gdLst/>
            <a:ahLst/>
            <a:cxnLst/>
            <a:rect l="l" t="t" r="r" b="b"/>
            <a:pathLst>
              <a:path w="9154693" h="6863485">
                <a:moveTo>
                  <a:pt x="0" y="0"/>
                </a:moveTo>
                <a:lnTo>
                  <a:pt x="5976000" y="0"/>
                </a:lnTo>
                <a:lnTo>
                  <a:pt x="9154693" y="6863485"/>
                </a:lnTo>
                <a:lnTo>
                  <a:pt x="0" y="6863485"/>
                </a:lnTo>
                <a:lnTo>
                  <a:pt x="0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>
            <a:extLst>
              <a:ext uri="{FF2B5EF4-FFF2-40B4-BE49-F238E27FC236}">
                <a16:creationId xmlns:a16="http://schemas.microsoft.com/office/drawing/2014/main" id="{C429C2DD-A823-B07D-ADB9-330F311109B6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" r="3" b="12942"/>
          <a:stretch/>
        </p:blipFill>
        <p:spPr bwMode="auto">
          <a:xfrm>
            <a:off x="6168189" y="10"/>
            <a:ext cx="6023811" cy="3346394"/>
          </a:xfrm>
          <a:custGeom>
            <a:avLst/>
            <a:gdLst/>
            <a:ahLst/>
            <a:cxnLst/>
            <a:rect l="l" t="t" r="r" b="b"/>
            <a:pathLst>
              <a:path w="6023811" h="3346404">
                <a:moveTo>
                  <a:pt x="0" y="0"/>
                </a:moveTo>
                <a:lnTo>
                  <a:pt x="6023811" y="0"/>
                </a:lnTo>
                <a:lnTo>
                  <a:pt x="6023811" y="3346404"/>
                </a:lnTo>
                <a:lnTo>
                  <a:pt x="1549824" y="3346404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4">
            <a:extLst>
              <a:ext uri="{FF2B5EF4-FFF2-40B4-BE49-F238E27FC236}">
                <a16:creationId xmlns:a16="http://schemas.microsoft.com/office/drawing/2014/main" id="{B19ACC08-E0FE-FB8B-FFEE-60B195562CEF}"/>
              </a:ext>
            </a:extLst>
          </p:cNvPr>
          <p:cNvSpPr txBox="1">
            <a:spLocks/>
          </p:cNvSpPr>
          <p:nvPr/>
        </p:nvSpPr>
        <p:spPr>
          <a:xfrm>
            <a:off x="725311" y="602191"/>
            <a:ext cx="720771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>
                <a:solidFill>
                  <a:srgbClr val="1A3154"/>
                </a:solidFill>
                <a:latin typeface="IBM Plex Sans" panose="020B0503050203000203" pitchFamily="34" charset="0"/>
              </a:rPr>
              <a:t>16 </a:t>
            </a:r>
            <a:r>
              <a:rPr lang="en-US" sz="3600" err="1">
                <a:solidFill>
                  <a:srgbClr val="1A3154"/>
                </a:solidFill>
                <a:latin typeface="IBM Plex Sans" panose="020B0503050203000203" pitchFamily="34" charset="0"/>
              </a:rPr>
              <a:t>jaar</a:t>
            </a:r>
            <a:r>
              <a:rPr lang="en-US" sz="3600">
                <a:solidFill>
                  <a:srgbClr val="1A3154"/>
                </a:solidFill>
                <a:latin typeface="IBM Plex Sans" panose="020B0503050203000203" pitchFamily="34" charset="0"/>
              </a:rPr>
              <a:t> </a:t>
            </a:r>
            <a:r>
              <a:rPr lang="en-US" sz="3600" err="1">
                <a:solidFill>
                  <a:srgbClr val="1A3154"/>
                </a:solidFill>
                <a:latin typeface="IBM Plex Sans" panose="020B0503050203000203" pitchFamily="34" charset="0"/>
              </a:rPr>
              <a:t>klantendag</a:t>
            </a:r>
            <a:endParaRPr lang="nl-NL" sz="3600">
              <a:solidFill>
                <a:srgbClr val="1A3154"/>
              </a:solidFill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84450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528C8B6-0249-82CF-CB33-FCB786E134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2673"/>
          <a:stretch/>
        </p:blipFill>
        <p:spPr>
          <a:xfrm>
            <a:off x="0" y="1"/>
            <a:ext cx="5838825" cy="27325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B40A8D5-9659-9837-78A7-0253DA8F87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135" y="3429000"/>
            <a:ext cx="5393716" cy="304121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9F538AC-B51F-5993-D393-813CCF6A33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55028" y="0"/>
            <a:ext cx="4736972" cy="315983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B28BFA-29CB-5C46-524E-065F2915A18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91149" y="2524891"/>
            <a:ext cx="4389326" cy="2927325"/>
          </a:xfrm>
          <a:prstGeom prst="rect">
            <a:avLst/>
          </a:prstGeom>
        </p:spPr>
      </p:pic>
      <p:pic>
        <p:nvPicPr>
          <p:cNvPr id="6146" name="Picture 2" descr="Relatie ontvangst Vosko Networking | Voor Vosko mochten we dit jaar wederom  hun Netwerk event verzorgen. De Vosko Experience! | By Vanderloo | Facebook">
            <a:extLst>
              <a:ext uri="{FF2B5EF4-FFF2-40B4-BE49-F238E27FC236}">
                <a16:creationId xmlns:a16="http://schemas.microsoft.com/office/drawing/2014/main" id="{6CDFBD91-E113-88A3-028A-6A67CF491D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366" b="15968"/>
          <a:stretch/>
        </p:blipFill>
        <p:spPr bwMode="auto">
          <a:xfrm>
            <a:off x="9030340" y="4817268"/>
            <a:ext cx="3161660" cy="2040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84C3364-3C62-565F-E482-884D85BF3118}"/>
              </a:ext>
            </a:extLst>
          </p:cNvPr>
          <p:cNvSpPr txBox="1"/>
          <p:nvPr/>
        </p:nvSpPr>
        <p:spPr>
          <a:xfrm>
            <a:off x="1078787" y="2732567"/>
            <a:ext cx="398121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1"/>
              <a:t>‘Don’t keep up …. Stay ahead’</a:t>
            </a:r>
            <a:endParaRPr lang="nl-NL" sz="2400" b="1" i="1"/>
          </a:p>
        </p:txBody>
      </p:sp>
    </p:spTree>
    <p:extLst>
      <p:ext uri="{BB962C8B-B14F-4D97-AF65-F5344CB8AC3E}">
        <p14:creationId xmlns:p14="http://schemas.microsoft.com/office/powerpoint/2010/main" val="3943876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A623919-5557-B531-512B-52D9FEC2AC9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9777" b="13805"/>
          <a:stretch/>
        </p:blipFill>
        <p:spPr>
          <a:xfrm>
            <a:off x="2395728" y="1764792"/>
            <a:ext cx="5313437" cy="4416552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1B9BE17-6DA8-F922-994B-E761CF167EF8}"/>
              </a:ext>
            </a:extLst>
          </p:cNvPr>
          <p:cNvCxnSpPr>
            <a:cxnSpLocks/>
          </p:cNvCxnSpPr>
          <p:nvPr/>
        </p:nvCxnSpPr>
        <p:spPr>
          <a:xfrm>
            <a:off x="1920240" y="3410712"/>
            <a:ext cx="22280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33855DE-52A0-636A-BFF7-B9EB17907B6C}"/>
              </a:ext>
            </a:extLst>
          </p:cNvPr>
          <p:cNvCxnSpPr>
            <a:cxnSpLocks/>
            <a:stCxn id="1038" idx="3"/>
          </p:cNvCxnSpPr>
          <p:nvPr/>
        </p:nvCxnSpPr>
        <p:spPr>
          <a:xfrm>
            <a:off x="987052" y="4283393"/>
            <a:ext cx="381988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B998247-D594-D296-2DD0-B7133E1B4647}"/>
              </a:ext>
            </a:extLst>
          </p:cNvPr>
          <p:cNvCxnSpPr>
            <a:cxnSpLocks/>
          </p:cNvCxnSpPr>
          <p:nvPr/>
        </p:nvCxnSpPr>
        <p:spPr>
          <a:xfrm>
            <a:off x="1920240" y="5160264"/>
            <a:ext cx="353872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9" name="Afbeelding 1">
            <a:extLst>
              <a:ext uri="{FF2B5EF4-FFF2-40B4-BE49-F238E27FC236}">
                <a16:creationId xmlns:a16="http://schemas.microsoft.com/office/drawing/2014/main" id="{4DB5EF95-AD25-E31C-1F29-438D7FAF54A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817608" y="3277536"/>
            <a:ext cx="1004169" cy="1005857"/>
          </a:xfrm>
          <a:prstGeom prst="rect">
            <a:avLst/>
          </a:prstGeom>
        </p:spPr>
      </p:pic>
      <p:pic>
        <p:nvPicPr>
          <p:cNvPr id="22" name="Afbeelding 4">
            <a:extLst>
              <a:ext uri="{FF2B5EF4-FFF2-40B4-BE49-F238E27FC236}">
                <a16:creationId xmlns:a16="http://schemas.microsoft.com/office/drawing/2014/main" id="{E26F6704-9990-8C55-13B0-3C7EBEC425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6195" y="2972647"/>
            <a:ext cx="598061" cy="249971"/>
          </a:xfrm>
          <a:prstGeom prst="rect">
            <a:avLst/>
          </a:prstGeom>
        </p:spPr>
      </p:pic>
      <p:pic>
        <p:nvPicPr>
          <p:cNvPr id="1026" name="Picture 2" descr="Home | Smartdc">
            <a:extLst>
              <a:ext uri="{FF2B5EF4-FFF2-40B4-BE49-F238E27FC236}">
                <a16:creationId xmlns:a16="http://schemas.microsoft.com/office/drawing/2014/main" id="{EFCA64FA-C478-FB23-262A-D1838E480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7504" y="3257896"/>
            <a:ext cx="695445" cy="167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6991C60-7377-CEB0-F2FB-1F867876AB3C}"/>
              </a:ext>
            </a:extLst>
          </p:cNvPr>
          <p:cNvSpPr txBox="1"/>
          <p:nvPr/>
        </p:nvSpPr>
        <p:spPr>
          <a:xfrm>
            <a:off x="8260079" y="1568120"/>
            <a:ext cx="405079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b="1" i="0">
                <a:solidFill>
                  <a:srgbClr val="2D3C4C"/>
                </a:solidFill>
                <a:effectLst/>
                <a:latin typeface="Roboto" panose="02000000000000000000" pitchFamily="2" charset="0"/>
              </a:rPr>
              <a:t>De Van Nellefabriek </a:t>
            </a:r>
          </a:p>
          <a:p>
            <a:endParaRPr lang="nl-NL">
              <a:solidFill>
                <a:srgbClr val="2D3C4C"/>
              </a:solidFill>
              <a:latin typeface="Roboto" panose="02000000000000000000" pitchFamily="2" charset="0"/>
            </a:endParaRPr>
          </a:p>
          <a:p>
            <a:r>
              <a:rPr lang="nl-NL" b="0" i="0">
                <a:solidFill>
                  <a:srgbClr val="2D3C4C"/>
                </a:solidFill>
                <a:effectLst/>
                <a:latin typeface="Roboto" panose="02000000000000000000" pitchFamily="2" charset="0"/>
              </a:rPr>
              <a:t>20e-eeuwse industriële architectuur.</a:t>
            </a:r>
            <a:endParaRPr lang="nl-NL"/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EB4059-92B2-3E8F-AFC9-0DDCB4DC00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43640" y="1235831"/>
            <a:ext cx="1091991" cy="823109"/>
          </a:xfrm>
          <a:prstGeom prst="rect">
            <a:avLst/>
          </a:prstGeom>
        </p:spPr>
      </p:pic>
      <p:pic>
        <p:nvPicPr>
          <p:cNvPr id="1036" name="Picture 12" descr="Van Nelle zware shag 50 gram">
            <a:extLst>
              <a:ext uri="{FF2B5EF4-FFF2-40B4-BE49-F238E27FC236}">
                <a16:creationId xmlns:a16="http://schemas.microsoft.com/office/drawing/2014/main" id="{71EE56ED-30E1-6F8A-D9FA-0D480EB57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286" y="3170036"/>
            <a:ext cx="945400" cy="509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Snelfilter koffie melange rood, pak 1 kg - Van Nelle - Bidfood">
            <a:extLst>
              <a:ext uri="{FF2B5EF4-FFF2-40B4-BE49-F238E27FC236}">
                <a16:creationId xmlns:a16="http://schemas.microsoft.com/office/drawing/2014/main" id="{D3BC2692-98FA-1A91-8471-27DF93B10A4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64" r="27776"/>
          <a:stretch/>
        </p:blipFill>
        <p:spPr bwMode="auto">
          <a:xfrm>
            <a:off x="169935" y="3580258"/>
            <a:ext cx="817117" cy="1406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Van Nelle &quot;Een naam in thee&quot; - Het Geheugen">
            <a:extLst>
              <a:ext uri="{FF2B5EF4-FFF2-40B4-BE49-F238E27FC236}">
                <a16:creationId xmlns:a16="http://schemas.microsoft.com/office/drawing/2014/main" id="{5A030091-5B83-8367-E47A-77F1E39E11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593" y="4757928"/>
            <a:ext cx="849647" cy="119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1027">
            <a:extLst>
              <a:ext uri="{FF2B5EF4-FFF2-40B4-BE49-F238E27FC236}">
                <a16:creationId xmlns:a16="http://schemas.microsoft.com/office/drawing/2014/main" id="{2FC2CD0F-DF4B-98F4-1649-6700420738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36566" y="3934897"/>
            <a:ext cx="1378723" cy="330894"/>
          </a:xfrm>
          <a:prstGeom prst="rect">
            <a:avLst/>
          </a:prstGeom>
        </p:spPr>
      </p:pic>
      <p:sp>
        <p:nvSpPr>
          <p:cNvPr id="1029" name="Rectangle 1028">
            <a:extLst>
              <a:ext uri="{FF2B5EF4-FFF2-40B4-BE49-F238E27FC236}">
                <a16:creationId xmlns:a16="http://schemas.microsoft.com/office/drawing/2014/main" id="{27ADD620-D8D5-A7CD-CAE3-01A7FCF15915}"/>
              </a:ext>
            </a:extLst>
          </p:cNvPr>
          <p:cNvSpPr/>
          <p:nvPr/>
        </p:nvSpPr>
        <p:spPr>
          <a:xfrm>
            <a:off x="7910333" y="3564661"/>
            <a:ext cx="4154647" cy="3192755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31" name="Picture 1030">
            <a:extLst>
              <a:ext uri="{FF2B5EF4-FFF2-40B4-BE49-F238E27FC236}">
                <a16:creationId xmlns:a16="http://schemas.microsoft.com/office/drawing/2014/main" id="{21E32185-7E0D-0AC4-3059-776EEBBA1B6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52708" y="4645171"/>
            <a:ext cx="2612272" cy="2114549"/>
          </a:xfrm>
          <a:prstGeom prst="rect">
            <a:avLst/>
          </a:prstGeom>
        </p:spPr>
      </p:pic>
      <p:pic>
        <p:nvPicPr>
          <p:cNvPr id="1044" name="Picture 20" descr="Automated Landscapes">
            <a:extLst>
              <a:ext uri="{FF2B5EF4-FFF2-40B4-BE49-F238E27FC236}">
                <a16:creationId xmlns:a16="http://schemas.microsoft.com/office/drawing/2014/main" id="{E9A4E282-AA98-572D-18D2-93001E07AE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1002" y="3577636"/>
            <a:ext cx="2348483" cy="1565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98245D7-D61D-361E-3E75-04A507EC0423}"/>
              </a:ext>
            </a:extLst>
          </p:cNvPr>
          <p:cNvSpPr txBox="1"/>
          <p:nvPr/>
        </p:nvSpPr>
        <p:spPr>
          <a:xfrm>
            <a:off x="9929195" y="3202628"/>
            <a:ext cx="2219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1"/>
                </a:solidFill>
              </a:rPr>
              <a:t>Conscia in Rotterdam</a:t>
            </a:r>
            <a:endParaRPr lang="nl-NL" b="1">
              <a:solidFill>
                <a:schemeClr val="accent1"/>
              </a:solidFill>
            </a:endParaRPr>
          </a:p>
        </p:txBody>
      </p:sp>
      <p:sp>
        <p:nvSpPr>
          <p:cNvPr id="12" name="Titel 6">
            <a:extLst>
              <a:ext uri="{FF2B5EF4-FFF2-40B4-BE49-F238E27FC236}">
                <a16:creationId xmlns:a16="http://schemas.microsoft.com/office/drawing/2014/main" id="{BF09C592-0E2F-1FC3-4524-CBAFDFBE42F5}"/>
              </a:ext>
            </a:extLst>
          </p:cNvPr>
          <p:cNvSpPr txBox="1">
            <a:spLocks/>
          </p:cNvSpPr>
          <p:nvPr/>
        </p:nvSpPr>
        <p:spPr>
          <a:xfrm>
            <a:off x="361949" y="358960"/>
            <a:ext cx="10608733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3600" b="1" err="1">
                <a:solidFill>
                  <a:srgbClr val="218BD7"/>
                </a:solidFill>
                <a:latin typeface="IBM Plex Sans" panose="020B0503050203000203" pitchFamily="34" charset="0"/>
              </a:rPr>
              <a:t>Klantendag</a:t>
            </a:r>
            <a:r>
              <a:rPr lang="nl-NL" sz="3600">
                <a:solidFill>
                  <a:srgbClr val="218BD7"/>
                </a:solidFill>
                <a:latin typeface="IBM Plex Sans" panose="020B0503050203000203" pitchFamily="34" charset="0"/>
              </a:rPr>
              <a:t> | Evolutie met behoudt van principes</a:t>
            </a:r>
          </a:p>
        </p:txBody>
      </p:sp>
      <p:sp>
        <p:nvSpPr>
          <p:cNvPr id="13" name="Tijdelijke aanduiding voor tekst 7">
            <a:extLst>
              <a:ext uri="{FF2B5EF4-FFF2-40B4-BE49-F238E27FC236}">
                <a16:creationId xmlns:a16="http://schemas.microsoft.com/office/drawing/2014/main" id="{5957FC6F-AE51-E2E0-A6A1-13A4FAE831EB}"/>
              </a:ext>
            </a:extLst>
          </p:cNvPr>
          <p:cNvSpPr txBox="1">
            <a:spLocks/>
          </p:cNvSpPr>
          <p:nvPr/>
        </p:nvSpPr>
        <p:spPr>
          <a:xfrm>
            <a:off x="406178" y="979297"/>
            <a:ext cx="5256211" cy="45958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1600">
                <a:solidFill>
                  <a:srgbClr val="218BD7"/>
                </a:solidFill>
                <a:latin typeface="IBM Plex Sans Light" panose="020B0403050203000203" pitchFamily="34" charset="0"/>
              </a:rPr>
              <a:t>Informeren | Inspireren | Netwerken</a:t>
            </a:r>
          </a:p>
        </p:txBody>
      </p:sp>
    </p:spTree>
    <p:extLst>
      <p:ext uri="{BB962C8B-B14F-4D97-AF65-F5344CB8AC3E}">
        <p14:creationId xmlns:p14="http://schemas.microsoft.com/office/powerpoint/2010/main" val="1056614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9" grpId="0" animBg="1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Conscia">
      <a:dk1>
        <a:srgbClr val="000000"/>
      </a:dk1>
      <a:lt1>
        <a:srgbClr val="FFFFFF"/>
      </a:lt1>
      <a:dk2>
        <a:srgbClr val="033258"/>
      </a:dk2>
      <a:lt2>
        <a:srgbClr val="F4F7FC"/>
      </a:lt2>
      <a:accent1>
        <a:srgbClr val="248DD8"/>
      </a:accent1>
      <a:accent2>
        <a:srgbClr val="AAD4F3"/>
      </a:accent2>
      <a:accent3>
        <a:srgbClr val="525F6A"/>
      </a:accent3>
      <a:accent4>
        <a:srgbClr val="2FC0B2"/>
      </a:accent4>
      <a:accent5>
        <a:srgbClr val="FF9655"/>
      </a:accent5>
      <a:accent6>
        <a:srgbClr val="6559A2"/>
      </a:accent6>
      <a:hlink>
        <a:srgbClr val="248DD8"/>
      </a:hlink>
      <a:folHlink>
        <a:srgbClr val="248DD8"/>
      </a:folHlink>
    </a:clrScheme>
    <a:fontScheme name="Conscia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rgbClr val="8A2E4F">
            <a:alpha val="64999"/>
          </a:srgbClr>
        </a:solidFill>
        <a:ln w="6350" cap="rnd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Group-General-2021.potx" id="{F4A855EE-4925-4732-B731-F463BACCD8D7}" vid="{4242BFE8-AC2F-4EC1-B0EE-EBCFA7911F82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ron xmlns="b17d7f08-b855-4866-919b-4575c8504097" xsi:nil="true"/>
    <Image xmlns="b17d7f08-b855-4866-919b-4575c8504097" xsi:nil="true"/>
    <TaxCatchAll xmlns="e156b133-98be-4725-a9e4-ad71208d6116" xsi:nil="true"/>
    <lcf76f155ced4ddcb4097134ff3c332f xmlns="b17d7f08-b855-4866-919b-4575c8504097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6E314CC893234AB4683223D2098766" ma:contentTypeVersion="19" ma:contentTypeDescription="Een nieuw document maken." ma:contentTypeScope="" ma:versionID="9333c63e78d6a5d78873153ab2103d4d">
  <xsd:schema xmlns:xsd="http://www.w3.org/2001/XMLSchema" xmlns:xs="http://www.w3.org/2001/XMLSchema" xmlns:p="http://schemas.microsoft.com/office/2006/metadata/properties" xmlns:ns2="e156b133-98be-4725-a9e4-ad71208d6116" xmlns:ns3="b17d7f08-b855-4866-919b-4575c8504097" targetNamespace="http://schemas.microsoft.com/office/2006/metadata/properties" ma:root="true" ma:fieldsID="6de08dc49ede44e66431904dedfb04fa" ns2:_="" ns3:_="">
    <xsd:import namespace="e156b133-98be-4725-a9e4-ad71208d6116"/>
    <xsd:import namespace="b17d7f08-b855-4866-919b-4575c8504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Bron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Imag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56b133-98be-4725-a9e4-ad71208d611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f7acd9b-7ff6-4c98-b50b-1a8a53bb9b14}" ma:internalName="TaxCatchAll" ma:showField="CatchAllData" ma:web="e156b133-98be-4725-a9e4-ad71208d61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d7f08-b855-4866-919b-4575c85040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Bron" ma:index="20" nillable="true" ma:displayName="Bron" ma:format="Dropdown" ma:internalName="Bron">
      <xsd:simpleType>
        <xsd:restriction base="dms:Text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360606b3-7a2b-4258-ab95-67a3532a25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4" nillable="true" ma:displayName="Location" ma:internalName="MediaServiceLocation" ma:readOnly="true">
      <xsd:simpleType>
        <xsd:restriction base="dms:Text"/>
      </xsd:simpleType>
    </xsd:element>
    <xsd:element name="Image" ma:index="25" nillable="true" ma:displayName="Image" ma:format="Thumbnail" ma:internalName="Imag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831722A-9E9E-4C92-9311-DF250C4B91F7}">
  <ds:schemaRefs>
    <ds:schemaRef ds:uri="b17d7f08-b855-4866-919b-4575c8504097"/>
    <ds:schemaRef ds:uri="e156b133-98be-4725-a9e4-ad71208d61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1E92871-8DD0-475D-BC80-D57E5398C6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58F235-5A3D-4386-8FA4-BD749847B608}">
  <ds:schemaRefs>
    <ds:schemaRef ds:uri="b17d7f08-b855-4866-919b-4575c8504097"/>
    <ds:schemaRef ds:uri="e156b133-98be-4725-a9e4-ad71208d61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</TotalTime>
  <Words>677</Words>
  <Application>Microsoft Macintosh PowerPoint</Application>
  <PresentationFormat>Breedbeeld</PresentationFormat>
  <Paragraphs>229</Paragraphs>
  <Slides>23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34" baseType="lpstr">
      <vt:lpstr>Arial</vt:lpstr>
      <vt:lpstr>Calibri</vt:lpstr>
      <vt:lpstr>Calibri Light</vt:lpstr>
      <vt:lpstr>IBM Plex Sans</vt:lpstr>
      <vt:lpstr>IBM Plex Sans Light</vt:lpstr>
      <vt:lpstr>IBM Plex Sans Medium</vt:lpstr>
      <vt:lpstr>IBM Plex Sans SemiBold</vt:lpstr>
      <vt:lpstr>Roboto</vt:lpstr>
      <vt:lpstr>Kantoorthema</vt:lpstr>
      <vt:lpstr>1_Office-tema</vt:lpstr>
      <vt:lpstr>think-cell Slide</vt:lpstr>
      <vt:lpstr>PowerPoint-presentatie</vt:lpstr>
      <vt:lpstr>Welkom!</vt:lpstr>
      <vt:lpstr>Programma</vt:lpstr>
      <vt:lpstr>Verandering is noodzakelijk…</vt:lpstr>
      <vt:lpstr>… bij je principes  blijven ook!</vt:lpstr>
      <vt:lpstr>PowerPoint-presentatie</vt:lpstr>
      <vt:lpstr>PowerPoint-presentatie</vt:lpstr>
      <vt:lpstr>PowerPoint-presentatie</vt:lpstr>
      <vt:lpstr>PowerPoint-presentatie</vt:lpstr>
      <vt:lpstr>Technologie ontwikkelingen</vt:lpstr>
      <vt:lpstr>2007 | het jaar van…</vt:lpstr>
      <vt:lpstr>2023 | Het jaar van…</vt:lpstr>
      <vt:lpstr>Concreet AI voorbeeld</vt:lpstr>
      <vt:lpstr>Secure Connect</vt:lpstr>
      <vt:lpstr>SASE | Evolutie vanuit Revolutie</vt:lpstr>
      <vt:lpstr>Ontwikkeling van “COMP24/7 B.V.”</vt:lpstr>
      <vt:lpstr>Geen controle buiten “COMP24/7 B.V.”</vt:lpstr>
      <vt:lpstr>Architectuur van Morgen voor “COMP24/7 B.V.” 24/7 Secure IT Infrastructure </vt:lpstr>
      <vt:lpstr>PowerPoint-presentatie</vt:lpstr>
      <vt:lpstr>PowerPoint-presentatie</vt:lpstr>
      <vt:lpstr>PowerPoint-presentatie</vt:lpstr>
      <vt:lpstr>Gast spreker (r)evoluties</vt:lpstr>
      <vt:lpstr>Dank aan klanten &amp; partner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x van Dam</dc:creator>
  <cp:lastModifiedBy>Juliette van den Ouweland (Buro Estay)</cp:lastModifiedBy>
  <cp:revision>2</cp:revision>
  <dcterms:created xsi:type="dcterms:W3CDTF">2023-06-05T08:21:20Z</dcterms:created>
  <dcterms:modified xsi:type="dcterms:W3CDTF">2023-09-21T08:5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f4dc5f-dd59-42d3-ad70-31bc3246af1a_Enabled">
    <vt:lpwstr>true</vt:lpwstr>
  </property>
  <property fmtid="{D5CDD505-2E9C-101B-9397-08002B2CF9AE}" pid="3" name="MSIP_Label_72f4dc5f-dd59-42d3-ad70-31bc3246af1a_SetDate">
    <vt:lpwstr>2023-08-09T13:21:28Z</vt:lpwstr>
  </property>
  <property fmtid="{D5CDD505-2E9C-101B-9397-08002B2CF9AE}" pid="4" name="MSIP_Label_72f4dc5f-dd59-42d3-ad70-31bc3246af1a_Method">
    <vt:lpwstr>Privileged</vt:lpwstr>
  </property>
  <property fmtid="{D5CDD505-2E9C-101B-9397-08002B2CF9AE}" pid="5" name="MSIP_Label_72f4dc5f-dd59-42d3-ad70-31bc3246af1a_Name">
    <vt:lpwstr>Public-footer</vt:lpwstr>
  </property>
  <property fmtid="{D5CDD505-2E9C-101B-9397-08002B2CF9AE}" pid="6" name="MSIP_Label_72f4dc5f-dd59-42d3-ad70-31bc3246af1a_SiteId">
    <vt:lpwstr>01e16f79-1680-4f82-993b-e74a1f3c6c85</vt:lpwstr>
  </property>
  <property fmtid="{D5CDD505-2E9C-101B-9397-08002B2CF9AE}" pid="7" name="MSIP_Label_72f4dc5f-dd59-42d3-ad70-31bc3246af1a_ActionId">
    <vt:lpwstr>94f87498-769c-4c29-80ac-486d469070a5</vt:lpwstr>
  </property>
  <property fmtid="{D5CDD505-2E9C-101B-9397-08002B2CF9AE}" pid="8" name="MSIP_Label_72f4dc5f-dd59-42d3-ad70-31bc3246af1a_ContentBits">
    <vt:lpwstr>2</vt:lpwstr>
  </property>
  <property fmtid="{D5CDD505-2E9C-101B-9397-08002B2CF9AE}" pid="9" name="ClassificationContentMarkingFooterLocations">
    <vt:lpwstr>Kantoorthema:8</vt:lpwstr>
  </property>
  <property fmtid="{D5CDD505-2E9C-101B-9397-08002B2CF9AE}" pid="10" name="ClassificationContentMarkingFooterText">
    <vt:lpwstr>Conscia Sensitivity Classification: Public</vt:lpwstr>
  </property>
  <property fmtid="{D5CDD505-2E9C-101B-9397-08002B2CF9AE}" pid="11" name="ContentTypeId">
    <vt:lpwstr>0x010100906E314CC893234AB4683223D2098766</vt:lpwstr>
  </property>
  <property fmtid="{D5CDD505-2E9C-101B-9397-08002B2CF9AE}" pid="12" name="MediaServiceImageTags">
    <vt:lpwstr/>
  </property>
</Properties>
</file>